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mov" ContentType="video/quicktime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ppt/notesSlides/notesSlide10.xml" ContentType="application/vnd.openxmlformats-officedocument.presentationml.notesSlide+xml"/>
  <Override PartName="/ppt/tags/tag18.xml" ContentType="application/vnd.openxmlformats-officedocument.presentationml.tags+xml"/>
  <Override PartName="/ppt/notesSlides/notesSlide11.xml" ContentType="application/vnd.openxmlformats-officedocument.presentationml.notesSlide+xml"/>
  <Override PartName="/ppt/tags/tag19.xml" ContentType="application/vnd.openxmlformats-officedocument.presentationml.tags+xml"/>
  <Override PartName="/ppt/notesSlides/notesSlide12.xml" ContentType="application/vnd.openxmlformats-officedocument.presentationml.notesSlide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377" r:id="rId2"/>
    <p:sldId id="378" r:id="rId3"/>
    <p:sldId id="379" r:id="rId4"/>
    <p:sldId id="272" r:id="rId5"/>
    <p:sldId id="273" r:id="rId6"/>
    <p:sldId id="276" r:id="rId7"/>
    <p:sldId id="274" r:id="rId8"/>
    <p:sldId id="326" r:id="rId9"/>
    <p:sldId id="381" r:id="rId10"/>
    <p:sldId id="382" r:id="rId11"/>
    <p:sldId id="346" r:id="rId12"/>
    <p:sldId id="386" r:id="rId13"/>
    <p:sldId id="390" r:id="rId14"/>
    <p:sldId id="387" r:id="rId15"/>
    <p:sldId id="391" r:id="rId16"/>
    <p:sldId id="339" r:id="rId17"/>
    <p:sldId id="277" r:id="rId18"/>
    <p:sldId id="388" r:id="rId19"/>
    <p:sldId id="358" r:id="rId20"/>
    <p:sldId id="389" r:id="rId21"/>
    <p:sldId id="385" r:id="rId22"/>
    <p:sldId id="392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ECEC"/>
    <a:srgbClr val="7030A0"/>
    <a:srgbClr val="13CEDA"/>
    <a:srgbClr val="64614C"/>
    <a:srgbClr val="002060"/>
    <a:srgbClr val="FA2A2A"/>
    <a:srgbClr val="FFC000"/>
    <a:srgbClr val="92D050"/>
    <a:srgbClr val="F1F1F1"/>
    <a:srgbClr val="02B9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779" autoAdjust="0"/>
    <p:restoredTop sz="94660"/>
  </p:normalViewPr>
  <p:slideViewPr>
    <p:cSldViewPr snapToGrid="0">
      <p:cViewPr>
        <p:scale>
          <a:sx n="80" d="100"/>
          <a:sy n="80" d="100"/>
        </p:scale>
        <p:origin x="726" y="-22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5" d="100"/>
          <a:sy n="65" d="100"/>
        </p:scale>
        <p:origin x="2316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CE4BB1-ED69-4C07-BF5F-992EE047AE09}" type="datetimeFigureOut">
              <a:rPr lang="en-US" smtClean="0"/>
              <a:t>1/29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9C89A6-5FBD-496F-A3AA-3BA46B7DA0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3335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84A03D-878B-4579-9D58-298C2F7653FD}" type="datetimeFigureOut">
              <a:rPr lang="en-US" smtClean="0"/>
              <a:t>1/2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5911B5-F107-4CDF-8C37-6414B64E28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54797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5911B5-F107-4CDF-8C37-6414B64E28A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60669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5911B5-F107-4CDF-8C37-6414B64E28A5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3852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5911B5-F107-4CDF-8C37-6414B64E28A5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23466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5911B5-F107-4CDF-8C37-6414B64E28A5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2537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5911B5-F107-4CDF-8C37-6414B64E28A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81998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5911B5-F107-4CDF-8C37-6414B64E28A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6272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5911B5-F107-4CDF-8C37-6414B64E28A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2595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5911B5-F107-4CDF-8C37-6414B64E28A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475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5911B5-F107-4CDF-8C37-6414B64E28A5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4396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5911B5-F107-4CDF-8C37-6414B64E28A5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36400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5911B5-F107-4CDF-8C37-6414B64E28A5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11008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5911B5-F107-4CDF-8C37-6414B64E28A5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2764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60934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Titillium" panose="00000500000000000000" pitchFamily="50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360660"/>
            <a:ext cx="10515600" cy="4351338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Titillium" panose="00000500000000000000" pitchFamily="50" charset="0"/>
              </a:defRPr>
            </a:lvl1pPr>
            <a:lvl2pPr algn="ctr">
              <a:defRPr>
                <a:latin typeface="Titillium" panose="00000500000000000000" pitchFamily="50" charset="0"/>
              </a:defRPr>
            </a:lvl2pPr>
            <a:lvl3pPr algn="ctr">
              <a:defRPr>
                <a:latin typeface="Titillium" panose="00000500000000000000" pitchFamily="50" charset="0"/>
              </a:defRPr>
            </a:lvl3pPr>
            <a:lvl4pPr algn="ctr">
              <a:defRPr>
                <a:latin typeface="Titillium" panose="00000500000000000000" pitchFamily="50" charset="0"/>
              </a:defRPr>
            </a:lvl4pPr>
            <a:lvl5pPr algn="ctr">
              <a:defRPr>
                <a:latin typeface="Titillium" panose="00000500000000000000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370562" y="6468272"/>
            <a:ext cx="448535" cy="365125"/>
          </a:xfr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24532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63909" y="1974850"/>
            <a:ext cx="959536" cy="959536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2214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7025952" y="4372536"/>
            <a:ext cx="903140" cy="90314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6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7025952" y="2120900"/>
            <a:ext cx="903140" cy="90314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7025952" y="3246718"/>
            <a:ext cx="903140" cy="90314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5231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9275901" y="2518576"/>
            <a:ext cx="1569124" cy="1352696"/>
          </a:xfrm>
          <a:prstGeom prst="hexagon">
            <a:avLst>
              <a:gd name="adj" fmla="val 23992"/>
              <a:gd name="vf" fmla="val 115470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465907" y="2518576"/>
            <a:ext cx="1569124" cy="1352696"/>
          </a:xfrm>
          <a:prstGeom prst="hexagon">
            <a:avLst>
              <a:gd name="adj" fmla="val 23992"/>
              <a:gd name="vf" fmla="val 115470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4069239" y="2518576"/>
            <a:ext cx="1569124" cy="1352696"/>
          </a:xfrm>
          <a:prstGeom prst="hexagon">
            <a:avLst>
              <a:gd name="adj" fmla="val 23992"/>
              <a:gd name="vf" fmla="val 115470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6672571" y="2518576"/>
            <a:ext cx="1569124" cy="1352696"/>
          </a:xfrm>
          <a:prstGeom prst="hexagon">
            <a:avLst>
              <a:gd name="adj" fmla="val 23992"/>
              <a:gd name="vf" fmla="val 115470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76478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8917624" y="2301240"/>
            <a:ext cx="1664746" cy="1664746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387792" y="2301240"/>
            <a:ext cx="1664746" cy="1664746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3915901" y="2301240"/>
            <a:ext cx="1664746" cy="1664746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6400577" y="2301240"/>
            <a:ext cx="1664746" cy="1664746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95076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8696224" y="2055813"/>
            <a:ext cx="2263775" cy="34909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1235075" y="2055813"/>
            <a:ext cx="2263775" cy="34909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709772" y="2055813"/>
            <a:ext cx="2263775" cy="34909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6204290" y="2055813"/>
            <a:ext cx="2263775" cy="34909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07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1923895"/>
            <a:ext cx="12192000" cy="327199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29027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352800" y="1755775"/>
            <a:ext cx="2627313" cy="43402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58280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1841500"/>
            <a:ext cx="12192000" cy="3949700"/>
          </a:xfrm>
          <a:prstGeom prst="rect">
            <a:avLst/>
          </a:prstGeom>
          <a:noFill/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52484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1841500"/>
            <a:ext cx="12192000" cy="3949700"/>
          </a:xfrm>
          <a:prstGeom prst="rect">
            <a:avLst/>
          </a:prstGeom>
          <a:noFill/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26295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1231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" cy="646906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2438400" y="0"/>
            <a:ext cx="2438400" cy="646906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0" name="Picture Placeholder 17"/>
          <p:cNvSpPr>
            <a:spLocks noGrp="1"/>
          </p:cNvSpPr>
          <p:nvPr>
            <p:ph type="pic" sz="quarter" idx="15"/>
          </p:nvPr>
        </p:nvSpPr>
        <p:spPr>
          <a:xfrm>
            <a:off x="4876800" y="0"/>
            <a:ext cx="2438400" cy="646906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7315200" y="0"/>
            <a:ext cx="2438400" cy="646906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2" name="Picture Placeholder 17"/>
          <p:cNvSpPr>
            <a:spLocks noGrp="1"/>
          </p:cNvSpPr>
          <p:nvPr>
            <p:ph type="pic" sz="quarter" idx="17"/>
          </p:nvPr>
        </p:nvSpPr>
        <p:spPr>
          <a:xfrm>
            <a:off x="9753600" y="0"/>
            <a:ext cx="2438400" cy="646906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6191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7803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1231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25193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1231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1247910" y="1041223"/>
            <a:ext cx="4374856" cy="245754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03294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7"/>
          <p:cNvSpPr>
            <a:spLocks noGrp="1"/>
          </p:cNvSpPr>
          <p:nvPr>
            <p:ph type="pic" sz="quarter" idx="17"/>
          </p:nvPr>
        </p:nvSpPr>
        <p:spPr>
          <a:xfrm>
            <a:off x="9098342" y="1278257"/>
            <a:ext cx="1683735" cy="159748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12192000" cy="1231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60059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12192000" cy="1231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7046913" y="169863"/>
            <a:ext cx="4919662" cy="607218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04659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4463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8227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5186196" y="3348961"/>
            <a:ext cx="1162865" cy="116286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44313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966788" y="1995488"/>
            <a:ext cx="2817812" cy="520359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8686801" y="1179362"/>
            <a:ext cx="3230377" cy="151848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2641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7253288" y="797538"/>
            <a:ext cx="4694237" cy="20129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4808363" y="2905078"/>
            <a:ext cx="7138574" cy="152965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4808363" y="4542000"/>
            <a:ext cx="2283764" cy="152965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9663173" y="4542000"/>
            <a:ext cx="2283764" cy="152965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2695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833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3771899" y="3949700"/>
            <a:ext cx="2159001" cy="2286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39838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9864765" y="5317129"/>
            <a:ext cx="602482" cy="519218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5329381" y="1434409"/>
            <a:ext cx="2209901" cy="1904487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7052282" y="2386954"/>
            <a:ext cx="2488045" cy="2150164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6409140" y="4060047"/>
            <a:ext cx="1097318" cy="945665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6002927" y="4765092"/>
            <a:ext cx="593497" cy="511474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9054505" y="1922559"/>
            <a:ext cx="1086733" cy="936544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0057337" y="1942274"/>
            <a:ext cx="495206" cy="426768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10057337" y="2385763"/>
            <a:ext cx="602482" cy="519218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058444" y="3870224"/>
            <a:ext cx="1616768" cy="1393327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10379562" y="5020829"/>
            <a:ext cx="602482" cy="519218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30806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323101" y="1964292"/>
            <a:ext cx="3572769" cy="22174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93508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483417" y="0"/>
            <a:ext cx="370758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85752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/>
          <a:p>
            <a:endParaRPr lang="en-US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173038" y="4310741"/>
            <a:ext cx="2052637" cy="2032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2275596" y="4310741"/>
            <a:ext cx="2052637" cy="2032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4378990" y="4310741"/>
            <a:ext cx="2052637" cy="2032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173038" y="144463"/>
            <a:ext cx="2052637" cy="2032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2275596" y="144463"/>
            <a:ext cx="2052637" cy="2032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4378990" y="144463"/>
            <a:ext cx="2052637" cy="2032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173038" y="2219479"/>
            <a:ext cx="2052637" cy="2032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2275596" y="2219479"/>
            <a:ext cx="2052637" cy="2032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4378990" y="2219479"/>
            <a:ext cx="2052637" cy="2032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8112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ustom Layou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4501268"/>
            <a:ext cx="12192000" cy="6461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3"/>
            <a:ext cx="12192000" cy="50495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5"/>
          <p:cNvSpPr/>
          <p:nvPr/>
        </p:nvSpPr>
        <p:spPr>
          <a:xfrm flipV="1">
            <a:off x="4916255" y="5050009"/>
            <a:ext cx="2359490" cy="13411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7" name="Rectangle 9"/>
          <p:cNvSpPr/>
          <p:nvPr/>
        </p:nvSpPr>
        <p:spPr>
          <a:xfrm>
            <a:off x="0" y="2"/>
            <a:ext cx="12192000" cy="5047489"/>
          </a:xfrm>
          <a:custGeom>
            <a:avLst/>
            <a:gdLst>
              <a:gd name="connsiteX0" fmla="*/ 0 w 12192000"/>
              <a:gd name="connsiteY0" fmla="*/ 0 h 5047489"/>
              <a:gd name="connsiteX1" fmla="*/ 12192000 w 12192000"/>
              <a:gd name="connsiteY1" fmla="*/ 0 h 5047489"/>
              <a:gd name="connsiteX2" fmla="*/ 12192000 w 12192000"/>
              <a:gd name="connsiteY2" fmla="*/ 5047489 h 5047489"/>
              <a:gd name="connsiteX3" fmla="*/ 0 w 12192000"/>
              <a:gd name="connsiteY3" fmla="*/ 5047489 h 5047489"/>
              <a:gd name="connsiteX4" fmla="*/ 0 w 12192000"/>
              <a:gd name="connsiteY4" fmla="*/ 0 h 5047489"/>
              <a:gd name="connsiteX0" fmla="*/ 0 w 12192000"/>
              <a:gd name="connsiteY0" fmla="*/ 0 h 5047489"/>
              <a:gd name="connsiteX1" fmla="*/ 12192000 w 12192000"/>
              <a:gd name="connsiteY1" fmla="*/ 0 h 5047489"/>
              <a:gd name="connsiteX2" fmla="*/ 0 w 12192000"/>
              <a:gd name="connsiteY2" fmla="*/ 5047489 h 5047489"/>
              <a:gd name="connsiteX3" fmla="*/ 0 w 12192000"/>
              <a:gd name="connsiteY3" fmla="*/ 0 h 5047489"/>
              <a:gd name="connsiteX0" fmla="*/ 0 w 12192000"/>
              <a:gd name="connsiteY0" fmla="*/ 0 h 5047489"/>
              <a:gd name="connsiteX1" fmla="*/ 12192000 w 12192000"/>
              <a:gd name="connsiteY1" fmla="*/ 0 h 5047489"/>
              <a:gd name="connsiteX2" fmla="*/ 0 w 12192000"/>
              <a:gd name="connsiteY2" fmla="*/ 5047489 h 5047489"/>
              <a:gd name="connsiteX3" fmla="*/ 0 w 12192000"/>
              <a:gd name="connsiteY3" fmla="*/ 0 h 5047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047489">
                <a:moveTo>
                  <a:pt x="0" y="0"/>
                </a:moveTo>
                <a:lnTo>
                  <a:pt x="12192000" y="0"/>
                </a:lnTo>
                <a:cubicBezTo>
                  <a:pt x="5448300" y="412496"/>
                  <a:pt x="4064000" y="3364993"/>
                  <a:pt x="0" y="504748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9"/>
          <p:cNvSpPr/>
          <p:nvPr/>
        </p:nvSpPr>
        <p:spPr>
          <a:xfrm flipH="1">
            <a:off x="6210114" y="2"/>
            <a:ext cx="5981885" cy="2476501"/>
          </a:xfrm>
          <a:custGeom>
            <a:avLst/>
            <a:gdLst>
              <a:gd name="connsiteX0" fmla="*/ 0 w 12192000"/>
              <a:gd name="connsiteY0" fmla="*/ 0 h 5047489"/>
              <a:gd name="connsiteX1" fmla="*/ 12192000 w 12192000"/>
              <a:gd name="connsiteY1" fmla="*/ 0 h 5047489"/>
              <a:gd name="connsiteX2" fmla="*/ 12192000 w 12192000"/>
              <a:gd name="connsiteY2" fmla="*/ 5047489 h 5047489"/>
              <a:gd name="connsiteX3" fmla="*/ 0 w 12192000"/>
              <a:gd name="connsiteY3" fmla="*/ 5047489 h 5047489"/>
              <a:gd name="connsiteX4" fmla="*/ 0 w 12192000"/>
              <a:gd name="connsiteY4" fmla="*/ 0 h 5047489"/>
              <a:gd name="connsiteX0" fmla="*/ 0 w 12192000"/>
              <a:gd name="connsiteY0" fmla="*/ 0 h 5047489"/>
              <a:gd name="connsiteX1" fmla="*/ 12192000 w 12192000"/>
              <a:gd name="connsiteY1" fmla="*/ 0 h 5047489"/>
              <a:gd name="connsiteX2" fmla="*/ 0 w 12192000"/>
              <a:gd name="connsiteY2" fmla="*/ 5047489 h 5047489"/>
              <a:gd name="connsiteX3" fmla="*/ 0 w 12192000"/>
              <a:gd name="connsiteY3" fmla="*/ 0 h 5047489"/>
              <a:gd name="connsiteX0" fmla="*/ 0 w 12192000"/>
              <a:gd name="connsiteY0" fmla="*/ 0 h 5047489"/>
              <a:gd name="connsiteX1" fmla="*/ 12192000 w 12192000"/>
              <a:gd name="connsiteY1" fmla="*/ 0 h 5047489"/>
              <a:gd name="connsiteX2" fmla="*/ 0 w 12192000"/>
              <a:gd name="connsiteY2" fmla="*/ 5047489 h 5047489"/>
              <a:gd name="connsiteX3" fmla="*/ 0 w 12192000"/>
              <a:gd name="connsiteY3" fmla="*/ 0 h 5047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047489">
                <a:moveTo>
                  <a:pt x="0" y="0"/>
                </a:moveTo>
                <a:lnTo>
                  <a:pt x="12192000" y="0"/>
                </a:lnTo>
                <a:cubicBezTo>
                  <a:pt x="5448300" y="412496"/>
                  <a:pt x="4064000" y="3364993"/>
                  <a:pt x="0" y="504748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1457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9472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/>
          <a:p>
            <a:endParaRPr lang="en-US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4862536" y="1131714"/>
            <a:ext cx="6271480" cy="4592461"/>
          </a:xfrm>
          <a:prstGeom prst="rect">
            <a:avLst/>
          </a:prstGeom>
          <a:noFill/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9872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234489" y="4547319"/>
            <a:ext cx="1263380" cy="127480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1234489" y="1389370"/>
            <a:ext cx="1263380" cy="127480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2742935" y="2982503"/>
            <a:ext cx="1263380" cy="127480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25524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4381502"/>
            <a:ext cx="12192000" cy="247649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554182" y="904201"/>
            <a:ext cx="11083636" cy="5049598"/>
            <a:chOff x="0" y="2"/>
            <a:chExt cx="12192000" cy="5049598"/>
          </a:xfrm>
        </p:grpSpPr>
        <p:sp>
          <p:nvSpPr>
            <p:cNvPr id="5" name="Rectangle 4"/>
            <p:cNvSpPr/>
            <p:nvPr/>
          </p:nvSpPr>
          <p:spPr>
            <a:xfrm>
              <a:off x="0" y="3"/>
              <a:ext cx="12192000" cy="504959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9"/>
            <p:cNvSpPr/>
            <p:nvPr/>
          </p:nvSpPr>
          <p:spPr>
            <a:xfrm>
              <a:off x="0" y="2"/>
              <a:ext cx="12192000" cy="5047489"/>
            </a:xfrm>
            <a:custGeom>
              <a:avLst/>
              <a:gdLst>
                <a:gd name="connsiteX0" fmla="*/ 0 w 12192000"/>
                <a:gd name="connsiteY0" fmla="*/ 0 h 5047489"/>
                <a:gd name="connsiteX1" fmla="*/ 12192000 w 12192000"/>
                <a:gd name="connsiteY1" fmla="*/ 0 h 5047489"/>
                <a:gd name="connsiteX2" fmla="*/ 12192000 w 12192000"/>
                <a:gd name="connsiteY2" fmla="*/ 5047489 h 5047489"/>
                <a:gd name="connsiteX3" fmla="*/ 0 w 12192000"/>
                <a:gd name="connsiteY3" fmla="*/ 5047489 h 5047489"/>
                <a:gd name="connsiteX4" fmla="*/ 0 w 12192000"/>
                <a:gd name="connsiteY4" fmla="*/ 0 h 5047489"/>
                <a:gd name="connsiteX0" fmla="*/ 0 w 12192000"/>
                <a:gd name="connsiteY0" fmla="*/ 0 h 5047489"/>
                <a:gd name="connsiteX1" fmla="*/ 12192000 w 12192000"/>
                <a:gd name="connsiteY1" fmla="*/ 0 h 5047489"/>
                <a:gd name="connsiteX2" fmla="*/ 0 w 12192000"/>
                <a:gd name="connsiteY2" fmla="*/ 5047489 h 5047489"/>
                <a:gd name="connsiteX3" fmla="*/ 0 w 12192000"/>
                <a:gd name="connsiteY3" fmla="*/ 0 h 5047489"/>
                <a:gd name="connsiteX0" fmla="*/ 0 w 12192000"/>
                <a:gd name="connsiteY0" fmla="*/ 0 h 5047489"/>
                <a:gd name="connsiteX1" fmla="*/ 12192000 w 12192000"/>
                <a:gd name="connsiteY1" fmla="*/ 0 h 5047489"/>
                <a:gd name="connsiteX2" fmla="*/ 0 w 12192000"/>
                <a:gd name="connsiteY2" fmla="*/ 5047489 h 5047489"/>
                <a:gd name="connsiteX3" fmla="*/ 0 w 12192000"/>
                <a:gd name="connsiteY3" fmla="*/ 0 h 5047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92000" h="5047489">
                  <a:moveTo>
                    <a:pt x="0" y="0"/>
                  </a:moveTo>
                  <a:lnTo>
                    <a:pt x="12192000" y="0"/>
                  </a:lnTo>
                  <a:cubicBezTo>
                    <a:pt x="5448300" y="412496"/>
                    <a:pt x="4064000" y="3364993"/>
                    <a:pt x="0" y="504748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9"/>
            <p:cNvSpPr/>
            <p:nvPr/>
          </p:nvSpPr>
          <p:spPr>
            <a:xfrm flipH="1">
              <a:off x="6210114" y="2"/>
              <a:ext cx="5981885" cy="2476501"/>
            </a:xfrm>
            <a:custGeom>
              <a:avLst/>
              <a:gdLst>
                <a:gd name="connsiteX0" fmla="*/ 0 w 12192000"/>
                <a:gd name="connsiteY0" fmla="*/ 0 h 5047489"/>
                <a:gd name="connsiteX1" fmla="*/ 12192000 w 12192000"/>
                <a:gd name="connsiteY1" fmla="*/ 0 h 5047489"/>
                <a:gd name="connsiteX2" fmla="*/ 12192000 w 12192000"/>
                <a:gd name="connsiteY2" fmla="*/ 5047489 h 5047489"/>
                <a:gd name="connsiteX3" fmla="*/ 0 w 12192000"/>
                <a:gd name="connsiteY3" fmla="*/ 5047489 h 5047489"/>
                <a:gd name="connsiteX4" fmla="*/ 0 w 12192000"/>
                <a:gd name="connsiteY4" fmla="*/ 0 h 5047489"/>
                <a:gd name="connsiteX0" fmla="*/ 0 w 12192000"/>
                <a:gd name="connsiteY0" fmla="*/ 0 h 5047489"/>
                <a:gd name="connsiteX1" fmla="*/ 12192000 w 12192000"/>
                <a:gd name="connsiteY1" fmla="*/ 0 h 5047489"/>
                <a:gd name="connsiteX2" fmla="*/ 0 w 12192000"/>
                <a:gd name="connsiteY2" fmla="*/ 5047489 h 5047489"/>
                <a:gd name="connsiteX3" fmla="*/ 0 w 12192000"/>
                <a:gd name="connsiteY3" fmla="*/ 0 h 5047489"/>
                <a:gd name="connsiteX0" fmla="*/ 0 w 12192000"/>
                <a:gd name="connsiteY0" fmla="*/ 0 h 5047489"/>
                <a:gd name="connsiteX1" fmla="*/ 12192000 w 12192000"/>
                <a:gd name="connsiteY1" fmla="*/ 0 h 5047489"/>
                <a:gd name="connsiteX2" fmla="*/ 0 w 12192000"/>
                <a:gd name="connsiteY2" fmla="*/ 5047489 h 5047489"/>
                <a:gd name="connsiteX3" fmla="*/ 0 w 12192000"/>
                <a:gd name="connsiteY3" fmla="*/ 0 h 5047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92000" h="5047489">
                  <a:moveTo>
                    <a:pt x="0" y="0"/>
                  </a:moveTo>
                  <a:lnTo>
                    <a:pt x="12192000" y="0"/>
                  </a:lnTo>
                  <a:cubicBezTo>
                    <a:pt x="5448300" y="412496"/>
                    <a:pt x="4064000" y="3364993"/>
                    <a:pt x="0" y="504748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6146162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D59F26C4-D45C-449B-845B-D6966B6EB65F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7861839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D59F26C4-D45C-449B-845B-D6966B6EB65F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 flipV="1"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8603388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1786759" y="2365265"/>
            <a:ext cx="1828800" cy="18288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4035973" y="2365265"/>
            <a:ext cx="1828800" cy="18288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370562" y="6468272"/>
            <a:ext cx="448535" cy="365125"/>
          </a:xfr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72012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5342096" y="2390668"/>
            <a:ext cx="1695880" cy="293055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72655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370562" y="6468272"/>
            <a:ext cx="448535" cy="365125"/>
          </a:xfr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048082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4082459" y="-7938"/>
            <a:ext cx="2046288" cy="229711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1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082459" y="4548108"/>
            <a:ext cx="2046288" cy="229711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-7938"/>
            <a:ext cx="2046288" cy="229711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4548108"/>
            <a:ext cx="2046288" cy="229711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128746" y="-7938"/>
            <a:ext cx="6063253" cy="685315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436507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MockUp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3831771"/>
          </a:xfrm>
          <a:prstGeom prst="rect">
            <a:avLst/>
          </a:prstGeom>
          <a:blipFill dpi="0"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40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771147" y="1874770"/>
            <a:ext cx="5552062" cy="155423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670686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ockUp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Picture Placeholder 7"/>
          <p:cNvSpPr>
            <a:spLocks noGrp="1"/>
          </p:cNvSpPr>
          <p:nvPr>
            <p:ph type="pic" sz="quarter" idx="10" hasCustomPrompt="1"/>
          </p:nvPr>
        </p:nvSpPr>
        <p:spPr>
          <a:xfrm rot="20454814">
            <a:off x="8222576" y="1646845"/>
            <a:ext cx="1388517" cy="2306851"/>
          </a:xfrm>
          <a:custGeom>
            <a:avLst/>
            <a:gdLst>
              <a:gd name="connsiteX0" fmla="*/ 0 w 914400"/>
              <a:gd name="connsiteY0" fmla="*/ 0 h 1481021"/>
              <a:gd name="connsiteX1" fmla="*/ 914400 w 914400"/>
              <a:gd name="connsiteY1" fmla="*/ 0 h 1481021"/>
              <a:gd name="connsiteX2" fmla="*/ 914400 w 914400"/>
              <a:gd name="connsiteY2" fmla="*/ 1481021 h 1481021"/>
              <a:gd name="connsiteX3" fmla="*/ 0 w 914400"/>
              <a:gd name="connsiteY3" fmla="*/ 1481021 h 1481021"/>
              <a:gd name="connsiteX4" fmla="*/ 0 w 914400"/>
              <a:gd name="connsiteY4" fmla="*/ 0 h 1481021"/>
              <a:gd name="connsiteX0" fmla="*/ 0 w 914400"/>
              <a:gd name="connsiteY0" fmla="*/ 0 h 1481021"/>
              <a:gd name="connsiteX1" fmla="*/ 686469 w 914400"/>
              <a:gd name="connsiteY1" fmla="*/ 91167 h 1481021"/>
              <a:gd name="connsiteX2" fmla="*/ 914400 w 914400"/>
              <a:gd name="connsiteY2" fmla="*/ 1481021 h 1481021"/>
              <a:gd name="connsiteX3" fmla="*/ 0 w 914400"/>
              <a:gd name="connsiteY3" fmla="*/ 1481021 h 1481021"/>
              <a:gd name="connsiteX4" fmla="*/ 0 w 914400"/>
              <a:gd name="connsiteY4" fmla="*/ 0 h 1481021"/>
              <a:gd name="connsiteX0" fmla="*/ 0 w 981793"/>
              <a:gd name="connsiteY0" fmla="*/ 0 h 1638728"/>
              <a:gd name="connsiteX1" fmla="*/ 686469 w 981793"/>
              <a:gd name="connsiteY1" fmla="*/ 91167 h 1638728"/>
              <a:gd name="connsiteX2" fmla="*/ 981793 w 981793"/>
              <a:gd name="connsiteY2" fmla="*/ 1638728 h 1638728"/>
              <a:gd name="connsiteX3" fmla="*/ 0 w 981793"/>
              <a:gd name="connsiteY3" fmla="*/ 1481021 h 1638728"/>
              <a:gd name="connsiteX4" fmla="*/ 0 w 981793"/>
              <a:gd name="connsiteY4" fmla="*/ 0 h 1638728"/>
              <a:gd name="connsiteX0" fmla="*/ 0 w 981793"/>
              <a:gd name="connsiteY0" fmla="*/ 0 h 1638728"/>
              <a:gd name="connsiteX1" fmla="*/ 686469 w 981793"/>
              <a:gd name="connsiteY1" fmla="*/ 91167 h 1638728"/>
              <a:gd name="connsiteX2" fmla="*/ 981793 w 981793"/>
              <a:gd name="connsiteY2" fmla="*/ 1638728 h 1638728"/>
              <a:gd name="connsiteX3" fmla="*/ 259432 w 981793"/>
              <a:gd name="connsiteY3" fmla="*/ 1624543 h 1638728"/>
              <a:gd name="connsiteX4" fmla="*/ 0 w 981793"/>
              <a:gd name="connsiteY4" fmla="*/ 0 h 1638728"/>
              <a:gd name="connsiteX0" fmla="*/ 0 w 981793"/>
              <a:gd name="connsiteY0" fmla="*/ 0 h 1638728"/>
              <a:gd name="connsiteX1" fmla="*/ 709229 w 981793"/>
              <a:gd name="connsiteY1" fmla="*/ 76365 h 1638728"/>
              <a:gd name="connsiteX2" fmla="*/ 981793 w 981793"/>
              <a:gd name="connsiteY2" fmla="*/ 1638728 h 1638728"/>
              <a:gd name="connsiteX3" fmla="*/ 259432 w 981793"/>
              <a:gd name="connsiteY3" fmla="*/ 1624543 h 1638728"/>
              <a:gd name="connsiteX4" fmla="*/ 0 w 981793"/>
              <a:gd name="connsiteY4" fmla="*/ 0 h 1638728"/>
              <a:gd name="connsiteX0" fmla="*/ 0 w 990908"/>
              <a:gd name="connsiteY0" fmla="*/ 0 h 1631803"/>
              <a:gd name="connsiteX1" fmla="*/ 709229 w 990908"/>
              <a:gd name="connsiteY1" fmla="*/ 76365 h 1631803"/>
              <a:gd name="connsiteX2" fmla="*/ 990908 w 990908"/>
              <a:gd name="connsiteY2" fmla="*/ 1631803 h 1631803"/>
              <a:gd name="connsiteX3" fmla="*/ 259432 w 990908"/>
              <a:gd name="connsiteY3" fmla="*/ 1624543 h 1631803"/>
              <a:gd name="connsiteX4" fmla="*/ 0 w 990908"/>
              <a:gd name="connsiteY4" fmla="*/ 0 h 1631803"/>
              <a:gd name="connsiteX0" fmla="*/ 0 w 990908"/>
              <a:gd name="connsiteY0" fmla="*/ 0 h 1631803"/>
              <a:gd name="connsiteX1" fmla="*/ 710381 w 990908"/>
              <a:gd name="connsiteY1" fmla="*/ 63325 h 1631803"/>
              <a:gd name="connsiteX2" fmla="*/ 990908 w 990908"/>
              <a:gd name="connsiteY2" fmla="*/ 1631803 h 1631803"/>
              <a:gd name="connsiteX3" fmla="*/ 259432 w 990908"/>
              <a:gd name="connsiteY3" fmla="*/ 1624543 h 1631803"/>
              <a:gd name="connsiteX4" fmla="*/ 0 w 990908"/>
              <a:gd name="connsiteY4" fmla="*/ 0 h 1631803"/>
              <a:gd name="connsiteX0" fmla="*/ 0 w 990908"/>
              <a:gd name="connsiteY0" fmla="*/ 0 h 1631803"/>
              <a:gd name="connsiteX1" fmla="*/ 687073 w 990908"/>
              <a:gd name="connsiteY1" fmla="*/ 82137 h 1631803"/>
              <a:gd name="connsiteX2" fmla="*/ 990908 w 990908"/>
              <a:gd name="connsiteY2" fmla="*/ 1631803 h 1631803"/>
              <a:gd name="connsiteX3" fmla="*/ 259432 w 990908"/>
              <a:gd name="connsiteY3" fmla="*/ 1624543 h 1631803"/>
              <a:gd name="connsiteX4" fmla="*/ 0 w 990908"/>
              <a:gd name="connsiteY4" fmla="*/ 0 h 1631803"/>
              <a:gd name="connsiteX0" fmla="*/ 0 w 988945"/>
              <a:gd name="connsiteY0" fmla="*/ 0 h 1627764"/>
              <a:gd name="connsiteX1" fmla="*/ 685110 w 988945"/>
              <a:gd name="connsiteY1" fmla="*/ 78098 h 1627764"/>
              <a:gd name="connsiteX2" fmla="*/ 988945 w 988945"/>
              <a:gd name="connsiteY2" fmla="*/ 1627764 h 1627764"/>
              <a:gd name="connsiteX3" fmla="*/ 257469 w 988945"/>
              <a:gd name="connsiteY3" fmla="*/ 1620504 h 1627764"/>
              <a:gd name="connsiteX4" fmla="*/ 0 w 988945"/>
              <a:gd name="connsiteY4" fmla="*/ 0 h 1627764"/>
              <a:gd name="connsiteX0" fmla="*/ 0 w 985944"/>
              <a:gd name="connsiteY0" fmla="*/ 0 h 1626725"/>
              <a:gd name="connsiteX1" fmla="*/ 685110 w 985944"/>
              <a:gd name="connsiteY1" fmla="*/ 78098 h 1626725"/>
              <a:gd name="connsiteX2" fmla="*/ 985944 w 985944"/>
              <a:gd name="connsiteY2" fmla="*/ 1626725 h 1626725"/>
              <a:gd name="connsiteX3" fmla="*/ 257469 w 985944"/>
              <a:gd name="connsiteY3" fmla="*/ 1620504 h 1626725"/>
              <a:gd name="connsiteX4" fmla="*/ 0 w 985944"/>
              <a:gd name="connsiteY4" fmla="*/ 0 h 1626725"/>
              <a:gd name="connsiteX0" fmla="*/ 0 w 973018"/>
              <a:gd name="connsiteY0" fmla="*/ 0 h 1620504"/>
              <a:gd name="connsiteX1" fmla="*/ 685110 w 973018"/>
              <a:gd name="connsiteY1" fmla="*/ 78098 h 1620504"/>
              <a:gd name="connsiteX2" fmla="*/ 973018 w 973018"/>
              <a:gd name="connsiteY2" fmla="*/ 1615533 h 1620504"/>
              <a:gd name="connsiteX3" fmla="*/ 257469 w 973018"/>
              <a:gd name="connsiteY3" fmla="*/ 1620504 h 1620504"/>
              <a:gd name="connsiteX4" fmla="*/ 0 w 973018"/>
              <a:gd name="connsiteY4" fmla="*/ 0 h 1620504"/>
              <a:gd name="connsiteX0" fmla="*/ 0 w 973018"/>
              <a:gd name="connsiteY0" fmla="*/ 0 h 1620504"/>
              <a:gd name="connsiteX1" fmla="*/ 707265 w 973018"/>
              <a:gd name="connsiteY1" fmla="*/ 72325 h 1620504"/>
              <a:gd name="connsiteX2" fmla="*/ 973018 w 973018"/>
              <a:gd name="connsiteY2" fmla="*/ 1615533 h 1620504"/>
              <a:gd name="connsiteX3" fmla="*/ 257469 w 973018"/>
              <a:gd name="connsiteY3" fmla="*/ 1620504 h 1620504"/>
              <a:gd name="connsiteX4" fmla="*/ 0 w 973018"/>
              <a:gd name="connsiteY4" fmla="*/ 0 h 1620504"/>
              <a:gd name="connsiteX0" fmla="*/ 0 w 978905"/>
              <a:gd name="connsiteY0" fmla="*/ 0 h 1627649"/>
              <a:gd name="connsiteX1" fmla="*/ 707265 w 978905"/>
              <a:gd name="connsiteY1" fmla="*/ 72325 h 1627649"/>
              <a:gd name="connsiteX2" fmla="*/ 978905 w 978905"/>
              <a:gd name="connsiteY2" fmla="*/ 1627649 h 1627649"/>
              <a:gd name="connsiteX3" fmla="*/ 257469 w 978905"/>
              <a:gd name="connsiteY3" fmla="*/ 1620504 h 1627649"/>
              <a:gd name="connsiteX4" fmla="*/ 0 w 978905"/>
              <a:gd name="connsiteY4" fmla="*/ 0 h 1627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78905" h="1627649">
                <a:moveTo>
                  <a:pt x="0" y="0"/>
                </a:moveTo>
                <a:lnTo>
                  <a:pt x="707265" y="72325"/>
                </a:lnTo>
                <a:lnTo>
                  <a:pt x="978905" y="1627649"/>
                </a:lnTo>
                <a:lnTo>
                  <a:pt x="257469" y="1620504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txBody>
          <a:bodyPr bIns="457200" anchor="b"/>
          <a:lstStyle>
            <a:lvl1pPr algn="ct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370562" y="6468272"/>
            <a:ext cx="448535" cy="365125"/>
          </a:xfr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526875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MockUp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2336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 rot="2320164" flipH="1">
            <a:off x="4076144" y="752825"/>
            <a:ext cx="1104129" cy="1104129"/>
          </a:xfrm>
          <a:prstGeom prst="wedgeEllipseCallout">
            <a:avLst/>
          </a:prstGeom>
          <a:solidFill>
            <a:schemeClr val="bg1">
              <a:lumMod val="85000"/>
            </a:schemeClr>
          </a:solidFill>
          <a:ln w="57150">
            <a:solidFill>
              <a:schemeClr val="bg1">
                <a:alpha val="3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defTabSz="914400"/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 rot="20195227" flipH="1">
            <a:off x="2079342" y="838784"/>
            <a:ext cx="1539941" cy="1539941"/>
          </a:xfrm>
          <a:prstGeom prst="wedgeEllipseCallout">
            <a:avLst/>
          </a:prstGeom>
          <a:solidFill>
            <a:schemeClr val="bg1">
              <a:lumMod val="85000"/>
            </a:schemeClr>
          </a:solidFill>
          <a:ln w="57150">
            <a:solidFill>
              <a:schemeClr val="bg1">
                <a:alpha val="3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defTabSz="914400"/>
            <a:endParaRPr 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11370562" y="6468272"/>
            <a:ext cx="448535" cy="365125"/>
          </a:xfr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995109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-1"/>
            <a:ext cx="12192000" cy="3418367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Portfolio #</a:t>
            </a:r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3338622" y="3418366"/>
            <a:ext cx="2386123" cy="152577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Portfolio #</a:t>
            </a:r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6667499" y="3418366"/>
            <a:ext cx="2386123" cy="152577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Portfolio #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11370562" y="6468272"/>
            <a:ext cx="448535" cy="365125"/>
          </a:xfrm>
        </p:spPr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73293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2859089" y="2327275"/>
            <a:ext cx="7694612" cy="233521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9080976" y="2327275"/>
            <a:ext cx="1831500" cy="323948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812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3979090" y="2247594"/>
            <a:ext cx="4259926" cy="320255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9379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1979613"/>
            <a:ext cx="2438400" cy="24923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2438400" y="1979613"/>
            <a:ext cx="2438400" cy="24923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4876800" y="1979613"/>
            <a:ext cx="2438400" cy="24923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7315200" y="1979613"/>
            <a:ext cx="2438400" cy="24923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0"/>
          <p:cNvSpPr>
            <a:spLocks noGrp="1"/>
          </p:cNvSpPr>
          <p:nvPr>
            <p:ph type="pic" sz="quarter" idx="17"/>
          </p:nvPr>
        </p:nvSpPr>
        <p:spPr>
          <a:xfrm>
            <a:off x="9753600" y="1979613"/>
            <a:ext cx="2438400" cy="24923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85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 userDrawn="1">
            <p:ph type="pic" sz="quarter" idx="13"/>
          </p:nvPr>
        </p:nvSpPr>
        <p:spPr>
          <a:xfrm>
            <a:off x="266700" y="1854200"/>
            <a:ext cx="5753100" cy="2514600"/>
          </a:xfrm>
          <a:prstGeom prst="rect">
            <a:avLst/>
          </a:prstGeom>
          <a:noFill/>
          <a:ln w="1270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defTabSz="914400"/>
            <a:endParaRPr lang="en-US"/>
          </a:p>
        </p:txBody>
      </p:sp>
      <p:sp>
        <p:nvSpPr>
          <p:cNvPr id="10" name="Picture Placeholder 8"/>
          <p:cNvSpPr>
            <a:spLocks noGrp="1"/>
          </p:cNvSpPr>
          <p:nvPr userDrawn="1">
            <p:ph type="pic" sz="quarter" idx="14"/>
          </p:nvPr>
        </p:nvSpPr>
        <p:spPr>
          <a:xfrm>
            <a:off x="6184900" y="1854200"/>
            <a:ext cx="5753100" cy="2514600"/>
          </a:xfrm>
          <a:prstGeom prst="rect">
            <a:avLst/>
          </a:prstGeom>
          <a:noFill/>
          <a:ln w="1270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defTabSz="91440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844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933872" y="2151713"/>
            <a:ext cx="1664746" cy="1664746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spc="0"/>
            </a:lvl1pPr>
          </a:lstStyle>
          <a:p>
            <a:fld id="{D59F26C4-D45C-449B-845B-D6966B6E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23303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026" y="6523001"/>
            <a:ext cx="12189983" cy="335003"/>
          </a:xfrm>
          <a:prstGeom prst="rect">
            <a:avLst/>
          </a:prstGeom>
          <a:solidFill>
            <a:schemeClr val="bg2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5" name="Round Same Side Corner Rectangle 14"/>
          <p:cNvSpPr/>
          <p:nvPr userDrawn="1"/>
        </p:nvSpPr>
        <p:spPr>
          <a:xfrm>
            <a:off x="11359603" y="6443663"/>
            <a:ext cx="470448" cy="414336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16" name="Round Same Side Corner Rectangle 15"/>
          <p:cNvSpPr/>
          <p:nvPr userDrawn="1"/>
        </p:nvSpPr>
        <p:spPr>
          <a:xfrm flipV="1">
            <a:off x="4916256" y="0"/>
            <a:ext cx="2359491" cy="13411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17" name="Footer Placeholder 2"/>
          <p:cNvSpPr txBox="1">
            <a:spLocks/>
          </p:cNvSpPr>
          <p:nvPr userDrawn="1">
            <p:custDataLst>
              <p:tags r:id="rId47"/>
            </p:custDataLst>
          </p:nvPr>
        </p:nvSpPr>
        <p:spPr>
          <a:xfrm>
            <a:off x="200315" y="6559949"/>
            <a:ext cx="1490124" cy="26109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l"/>
            <a:r>
              <a:rPr lang="en-US" sz="1400" b="1" spc="-151" dirty="0">
                <a:solidFill>
                  <a:schemeClr val="accent1"/>
                </a:solidFill>
                <a:latin typeface="Arial" panose="020B0604020202020204" pitchFamily="34" charset="0"/>
              </a:rPr>
              <a:t>Your logo</a:t>
            </a:r>
          </a:p>
        </p:txBody>
      </p:sp>
      <p:sp>
        <p:nvSpPr>
          <p:cNvPr id="18" name="Date Placeholder 1"/>
          <p:cNvSpPr txBox="1">
            <a:spLocks/>
          </p:cNvSpPr>
          <p:nvPr userDrawn="1">
            <p:custDataLst>
              <p:tags r:id="rId48"/>
            </p:custDataLst>
          </p:nvPr>
        </p:nvSpPr>
        <p:spPr>
          <a:xfrm>
            <a:off x="9362059" y="6581989"/>
            <a:ext cx="2003895" cy="2170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www.yourcompanyname.com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5048251" y="1033677"/>
            <a:ext cx="2095500" cy="0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70562" y="6468272"/>
            <a:ext cx="448535" cy="365125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200" b="0" spc="-151" smtClean="0">
                <a:solidFill>
                  <a:schemeClr val="bg1"/>
                </a:solidFill>
                <a:latin typeface="Titillium" panose="00000500000000000000" pitchFamily="50" charset="0"/>
                <a:ea typeface="Roboto" panose="02000000000000000000" pitchFamily="2" charset="0"/>
                <a:cs typeface="Open Sans Semibold" panose="020B0706030804020204" pitchFamily="34" charset="0"/>
              </a:defRPr>
            </a:lvl1pPr>
          </a:lstStyle>
          <a:p>
            <a:pPr algn="ctr"/>
            <a:fld id="{D59F26C4-D45C-449B-845B-D6966B6EB65F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768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5" r:id="rId2"/>
    <p:sldLayoutId id="2147483702" r:id="rId3"/>
    <p:sldLayoutId id="2147483700" r:id="rId4"/>
    <p:sldLayoutId id="2147483698" r:id="rId5"/>
    <p:sldLayoutId id="2147483696" r:id="rId6"/>
    <p:sldLayoutId id="2147483691" r:id="rId7"/>
    <p:sldLayoutId id="2147483690" r:id="rId8"/>
    <p:sldLayoutId id="2147483684" r:id="rId9"/>
    <p:sldLayoutId id="2147483685" r:id="rId10"/>
    <p:sldLayoutId id="2147483687" r:id="rId11"/>
    <p:sldLayoutId id="2147483683" r:id="rId12"/>
    <p:sldLayoutId id="2147483682" r:id="rId13"/>
    <p:sldLayoutId id="2147483677" r:id="rId14"/>
    <p:sldLayoutId id="2147483676" r:id="rId15"/>
    <p:sldLayoutId id="2147483675" r:id="rId16"/>
    <p:sldLayoutId id="2147483671" r:id="rId17"/>
    <p:sldLayoutId id="2147483674" r:id="rId18"/>
    <p:sldLayoutId id="2147483662" r:id="rId19"/>
    <p:sldLayoutId id="2147483694" r:id="rId20"/>
    <p:sldLayoutId id="2147483695" r:id="rId21"/>
    <p:sldLayoutId id="2147483693" r:id="rId22"/>
    <p:sldLayoutId id="2147483678" r:id="rId23"/>
    <p:sldLayoutId id="2147483656" r:id="rId24"/>
    <p:sldLayoutId id="2147483705" r:id="rId25"/>
    <p:sldLayoutId id="2147483697" r:id="rId26"/>
    <p:sldLayoutId id="2147483688" r:id="rId27"/>
    <p:sldLayoutId id="2147483681" r:id="rId28"/>
    <p:sldLayoutId id="2147483679" r:id="rId29"/>
    <p:sldLayoutId id="2147483686" r:id="rId30"/>
    <p:sldLayoutId id="2147483680" r:id="rId31"/>
    <p:sldLayoutId id="2147483670" r:id="rId32"/>
    <p:sldLayoutId id="2147483669" r:id="rId33"/>
    <p:sldLayoutId id="2147483689" r:id="rId34"/>
    <p:sldLayoutId id="2147483673" r:id="rId35"/>
    <p:sldLayoutId id="2147483668" r:id="rId36"/>
    <p:sldLayoutId id="2147483660" r:id="rId37"/>
    <p:sldLayoutId id="2147483661" r:id="rId38"/>
    <p:sldLayoutId id="2147483658" r:id="rId39"/>
    <p:sldLayoutId id="2147483659" r:id="rId40"/>
    <p:sldLayoutId id="2147483692" r:id="rId41"/>
    <p:sldLayoutId id="2147483699" r:id="rId42"/>
    <p:sldLayoutId id="2147483667" r:id="rId43"/>
    <p:sldLayoutId id="2147483701" r:id="rId44"/>
    <p:sldLayoutId id="2147483703" r:id="rId45"/>
  </p:sldLayoutIdLst>
  <p:hf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lang="en-US" sz="3200" b="1" kern="1200" spc="-151" dirty="0" smtClean="0">
          <a:solidFill>
            <a:schemeClr val="tx1">
              <a:lumMod val="50000"/>
              <a:lumOff val="50000"/>
            </a:schemeClr>
          </a:solidFill>
          <a:latin typeface="Titillium" panose="00000500000000000000" pitchFamily="50" charset="0"/>
          <a:ea typeface="Roboto" panose="02000000000000000000" pitchFamily="2" charset="0"/>
          <a:cs typeface="Open Sans Semibold" panose="020B0706030804020204" pitchFamily="34" charset="0"/>
        </a:defRPr>
      </a:lvl1pPr>
    </p:titleStyle>
    <p:bodyStyle>
      <a:lvl1pPr marL="228589" indent="-228589" algn="ctr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1100" kern="1200" smtClean="0">
          <a:solidFill>
            <a:schemeClr val="tx1">
              <a:lumMod val="50000"/>
              <a:lumOff val="50000"/>
            </a:schemeClr>
          </a:solidFill>
          <a:latin typeface="Titillium" panose="00000500000000000000" pitchFamily="50" charset="0"/>
          <a:ea typeface="Roboto" panose="02000000000000000000" pitchFamily="2" charset="0"/>
          <a:cs typeface="Open Sans Semibold" panose="020B0706030804020204" pitchFamily="34" charset="0"/>
        </a:defRPr>
      </a:lvl1pPr>
      <a:lvl2pPr marL="685766" indent="-228589" algn="ctr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800" kern="1200" smtClean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1142942" indent="-228589" algn="ctr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800" kern="1200" smtClean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1600120" indent="-228589" algn="ctr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800" kern="1200" smtClean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2057298" indent="-228589" algn="ctr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800" kern="1200" smtClean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25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video" Target="../media/media1.mov"/><Relationship Id="rId2" Type="http://schemas.microsoft.com/office/2007/relationships/media" Target="../media/media1.mov"/><Relationship Id="rId1" Type="http://schemas.openxmlformats.org/officeDocument/2006/relationships/tags" Target="../tags/tag18.xml"/><Relationship Id="rId6" Type="http://schemas.openxmlformats.org/officeDocument/2006/relationships/image" Target="../media/image29.png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Relationship Id="rId4" Type="http://schemas.openxmlformats.org/officeDocument/2006/relationships/image" Target="../media/image30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0.xml"/><Relationship Id="rId6" Type="http://schemas.openxmlformats.org/officeDocument/2006/relationships/image" Target="../media/image31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7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8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796747" y="1391479"/>
            <a:ext cx="4598503" cy="8361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>
              <a:defRPr sz="4400" b="1" spc="-150">
                <a:solidFill>
                  <a:schemeClr val="tx1">
                    <a:lumMod val="50000"/>
                    <a:lumOff val="50000"/>
                  </a:schemeClr>
                </a:solidFill>
                <a:latin typeface="Titillium" panose="00000500000000000000" pitchFamily="50" charset="0"/>
                <a:ea typeface="Roboto" panose="02000000000000000000" pitchFamily="2" charset="0"/>
                <a:cs typeface="Open Sans Semibold" panose="020B0706030804020204" pitchFamily="34" charset="0"/>
              </a:defRPr>
            </a:lvl1pPr>
          </a:lstStyle>
          <a:p>
            <a:pPr algn="ctr"/>
            <a:r>
              <a:rPr lang="en-US" sz="2400" spc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ESENTATION DE</a:t>
            </a:r>
          </a:p>
        </p:txBody>
      </p:sp>
      <p:sp>
        <p:nvSpPr>
          <p:cNvPr id="9" name="Rectangle 8"/>
          <p:cNvSpPr/>
          <p:nvPr/>
        </p:nvSpPr>
        <p:spPr>
          <a:xfrm>
            <a:off x="503583" y="4650286"/>
            <a:ext cx="2541013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Titillium Lt" panose="00000400000000000000" pitchFamily="50" charset="0"/>
                <a:ea typeface="Roboto" panose="02000000000000000000" pitchFamily="2" charset="0"/>
              </a:rPr>
              <a:t>REALISE PAR : </a:t>
            </a:r>
          </a:p>
          <a:p>
            <a:r>
              <a:rPr lang="en-US" sz="1600" dirty="0">
                <a:solidFill>
                  <a:schemeClr val="bg1"/>
                </a:solidFill>
                <a:latin typeface="Titillium Lt" panose="00000400000000000000" pitchFamily="50" charset="0"/>
                <a:ea typeface="Roboto" panose="02000000000000000000" pitchFamily="2" charset="0"/>
              </a:rPr>
              <a:t>BEN MOSTPHA EMIR</a:t>
            </a:r>
          </a:p>
          <a:p>
            <a:r>
              <a:rPr lang="en-US" sz="1600" dirty="0">
                <a:solidFill>
                  <a:schemeClr val="bg1"/>
                </a:solidFill>
                <a:latin typeface="Titillium Lt" panose="00000400000000000000" pitchFamily="50" charset="0"/>
                <a:ea typeface="Roboto" panose="02000000000000000000" pitchFamily="2" charset="0"/>
              </a:rPr>
              <a:t>HAMMEMI FAYDRA </a:t>
            </a:r>
          </a:p>
          <a:p>
            <a:r>
              <a:rPr lang="en-US" sz="1600" dirty="0">
                <a:solidFill>
                  <a:schemeClr val="bg1"/>
                </a:solidFill>
                <a:latin typeface="Titillium Lt" panose="00000400000000000000" pitchFamily="50" charset="0"/>
                <a:ea typeface="Roboto" panose="02000000000000000000" pitchFamily="2" charset="0"/>
              </a:rPr>
              <a:t>ISMAIL ACHREF </a:t>
            </a:r>
          </a:p>
          <a:p>
            <a:r>
              <a:rPr lang="en-US" sz="1600" dirty="0">
                <a:solidFill>
                  <a:schemeClr val="bg1"/>
                </a:solidFill>
                <a:latin typeface="Titillium Lt" panose="00000400000000000000" pitchFamily="50" charset="0"/>
                <a:ea typeface="Roboto" panose="02000000000000000000" pitchFamily="2" charset="0"/>
              </a:rPr>
              <a:t>MNIF NOURA</a:t>
            </a:r>
          </a:p>
          <a:p>
            <a:r>
              <a:rPr lang="en-US" sz="1600" dirty="0">
                <a:solidFill>
                  <a:schemeClr val="bg1"/>
                </a:solidFill>
                <a:latin typeface="Titillium Lt" panose="00000400000000000000" pitchFamily="50" charset="0"/>
                <a:ea typeface="Roboto" panose="02000000000000000000" pitchFamily="2" charset="0"/>
              </a:rPr>
              <a:t>NACIB RAJIA RIHAB </a:t>
            </a:r>
          </a:p>
          <a:p>
            <a:r>
              <a:rPr lang="en-US" sz="1600" dirty="0">
                <a:solidFill>
                  <a:schemeClr val="bg1"/>
                </a:solidFill>
                <a:latin typeface="Titillium Lt" panose="00000400000000000000" pitchFamily="50" charset="0"/>
                <a:ea typeface="Roboto" panose="02000000000000000000" pitchFamily="2" charset="0"/>
              </a:rPr>
              <a:t>OUERGHUI AYMEN </a:t>
            </a:r>
          </a:p>
          <a:p>
            <a:pPr algn="ctr"/>
            <a:endParaRPr lang="en-US" sz="1200" dirty="0">
              <a:solidFill>
                <a:schemeClr val="bg1"/>
              </a:solidFill>
              <a:latin typeface="Titillium Lt" panose="00000400000000000000" pitchFamily="50" charset="0"/>
              <a:ea typeface="Roboto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D59F26C4-D45C-449B-845B-D6966B6EB65F}" type="slidenum">
              <a:rPr lang="en-US" smtClean="0"/>
              <a:pPr algn="ctr"/>
              <a:t>1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2F74696-185A-4DA1-8E42-0E230A513F3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169" b="25990"/>
          <a:stretch/>
        </p:blipFill>
        <p:spPr>
          <a:xfrm>
            <a:off x="3671803" y="2763078"/>
            <a:ext cx="4848393" cy="266368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A5645AF-6FA8-40D7-8BE9-2B7F8196CB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850" y="322200"/>
            <a:ext cx="2465921" cy="895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921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6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7" dur="5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8" dur="5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9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10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300"/>
                            </p:stCondLst>
                            <p:childTnLst>
                              <p:par>
                                <p:cTn id="12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900" decel="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>
            <p:custDataLst>
              <p:tags r:id="rId1"/>
            </p:custDataLst>
          </p:nvPr>
        </p:nvSpPr>
        <p:spPr>
          <a:xfrm>
            <a:off x="1765300" y="361450"/>
            <a:ext cx="9499868" cy="56644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spc="600" dirty="0">
                <a:solidFill>
                  <a:schemeClr val="bg1">
                    <a:lumMod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LES BESOINS NON FONCTIONNEL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9F26C4-D45C-449B-845B-D6966B6EB65F}" type="slidenum">
              <a:rPr lang="en-US" smtClean="0"/>
              <a:t>10</a:t>
            </a:fld>
            <a:endParaRPr lang="en-US" dirty="0"/>
          </a:p>
        </p:txBody>
      </p:sp>
      <p:sp>
        <p:nvSpPr>
          <p:cNvPr id="37" name="Arc 36"/>
          <p:cNvSpPr/>
          <p:nvPr/>
        </p:nvSpPr>
        <p:spPr>
          <a:xfrm>
            <a:off x="172464" y="2084103"/>
            <a:ext cx="2060540" cy="2060540"/>
          </a:xfrm>
          <a:prstGeom prst="arc">
            <a:avLst>
              <a:gd name="adj1" fmla="val 7846411"/>
              <a:gd name="adj2" fmla="val 3022004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Arc 39"/>
          <p:cNvSpPr/>
          <p:nvPr/>
        </p:nvSpPr>
        <p:spPr>
          <a:xfrm>
            <a:off x="2428120" y="2071224"/>
            <a:ext cx="2060540" cy="2060540"/>
          </a:xfrm>
          <a:prstGeom prst="arc">
            <a:avLst>
              <a:gd name="adj1" fmla="val 7846411"/>
              <a:gd name="adj2" fmla="val 3022004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Arc 42"/>
          <p:cNvSpPr/>
          <p:nvPr/>
        </p:nvSpPr>
        <p:spPr>
          <a:xfrm>
            <a:off x="4722416" y="2071224"/>
            <a:ext cx="2060540" cy="2060540"/>
          </a:xfrm>
          <a:prstGeom prst="arc">
            <a:avLst>
              <a:gd name="adj1" fmla="val 7846411"/>
              <a:gd name="adj2" fmla="val 3022004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Arc 45"/>
          <p:cNvSpPr/>
          <p:nvPr/>
        </p:nvSpPr>
        <p:spPr>
          <a:xfrm>
            <a:off x="6990952" y="2071224"/>
            <a:ext cx="2060540" cy="2060540"/>
          </a:xfrm>
          <a:prstGeom prst="arc">
            <a:avLst>
              <a:gd name="adj1" fmla="val 7846411"/>
              <a:gd name="adj2" fmla="val 3022004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TextBox 52"/>
          <p:cNvSpPr txBox="1"/>
          <p:nvPr/>
        </p:nvSpPr>
        <p:spPr>
          <a:xfrm>
            <a:off x="70468" y="4313292"/>
            <a:ext cx="2264532" cy="40011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 spc="-150">
                <a:solidFill>
                  <a:schemeClr val="bg1">
                    <a:lumMod val="50000"/>
                  </a:schemeClr>
                </a:solidFill>
                <a:latin typeface="Titillium" panose="00000500000000000000" pitchFamily="50" charset="0"/>
                <a:ea typeface="Roboto" panose="02000000000000000000" pitchFamily="2" charset="0"/>
                <a:cs typeface="Open Sans Semibold" panose="020B07060308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FR" sz="1800" b="1" spc="0" dirty="0">
                <a:solidFill>
                  <a:schemeClr val="accent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SECURITE</a:t>
            </a:r>
            <a:endParaRPr lang="id-ID" sz="1800" b="1" spc="0" dirty="0">
              <a:solidFill>
                <a:schemeClr val="accent1"/>
              </a:solidFill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317140" y="4456073"/>
            <a:ext cx="2171520" cy="40011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 spc="-150">
                <a:solidFill>
                  <a:schemeClr val="bg1">
                    <a:lumMod val="50000"/>
                  </a:schemeClr>
                </a:solidFill>
                <a:latin typeface="Titillium" panose="00000500000000000000" pitchFamily="50" charset="0"/>
                <a:ea typeface="Roboto" panose="02000000000000000000" pitchFamily="2" charset="0"/>
                <a:cs typeface="Open Sans Semibold" panose="020B07060308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FR" sz="1800" b="1" spc="0" dirty="0">
                <a:solidFill>
                  <a:schemeClr val="accent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MANIPULATION FLUIDE</a:t>
            </a:r>
            <a:endParaRPr lang="id-ID" sz="1800" b="1" spc="0" dirty="0">
              <a:solidFill>
                <a:schemeClr val="accent1"/>
              </a:solidFill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4802599" y="4313292"/>
            <a:ext cx="2188353" cy="40011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 spc="-150">
                <a:solidFill>
                  <a:schemeClr val="bg1">
                    <a:lumMod val="50000"/>
                  </a:schemeClr>
                </a:solidFill>
                <a:latin typeface="Titillium" panose="00000500000000000000" pitchFamily="50" charset="0"/>
                <a:ea typeface="Roboto" panose="02000000000000000000" pitchFamily="2" charset="0"/>
                <a:cs typeface="Open Sans Semibold" panose="020B07060308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FR" sz="1800" b="1" spc="0" dirty="0">
                <a:solidFill>
                  <a:schemeClr val="accent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ECOLOGIQUE</a:t>
            </a:r>
            <a:endParaRPr lang="id-ID" sz="1800" b="1" spc="0" dirty="0">
              <a:solidFill>
                <a:schemeClr val="accent1"/>
              </a:solidFill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6422027" y="4313292"/>
            <a:ext cx="3465109" cy="40011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 spc="-150">
                <a:solidFill>
                  <a:schemeClr val="bg1">
                    <a:lumMod val="50000"/>
                  </a:schemeClr>
                </a:solidFill>
                <a:latin typeface="Titillium" panose="00000500000000000000" pitchFamily="50" charset="0"/>
                <a:ea typeface="Roboto" panose="02000000000000000000" pitchFamily="2" charset="0"/>
                <a:cs typeface="Open Sans Semibold" panose="020B07060308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FR" sz="1800" b="1" spc="0" dirty="0">
                <a:solidFill>
                  <a:schemeClr val="accent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ERGONOMIQUE</a:t>
            </a:r>
          </a:p>
        </p:txBody>
      </p:sp>
      <p:sp>
        <p:nvSpPr>
          <p:cNvPr id="47" name="Arc 46"/>
          <p:cNvSpPr/>
          <p:nvPr/>
        </p:nvSpPr>
        <p:spPr>
          <a:xfrm>
            <a:off x="9363946" y="1985076"/>
            <a:ext cx="2060540" cy="2060540"/>
          </a:xfrm>
          <a:prstGeom prst="arc">
            <a:avLst>
              <a:gd name="adj1" fmla="val 7846411"/>
              <a:gd name="adj2" fmla="val 3022004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TextBox 71"/>
          <p:cNvSpPr txBox="1"/>
          <p:nvPr/>
        </p:nvSpPr>
        <p:spPr>
          <a:xfrm>
            <a:off x="9080609" y="4456073"/>
            <a:ext cx="3218715" cy="40011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 spc="-150">
                <a:solidFill>
                  <a:schemeClr val="bg1">
                    <a:lumMod val="50000"/>
                  </a:schemeClr>
                </a:solidFill>
                <a:latin typeface="Titillium" panose="00000500000000000000" pitchFamily="50" charset="0"/>
                <a:ea typeface="Roboto" panose="02000000000000000000" pitchFamily="2" charset="0"/>
                <a:cs typeface="Open Sans Semibold" panose="020B07060308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FR" sz="1800" b="1" spc="0" dirty="0">
                <a:solidFill>
                  <a:schemeClr val="accent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CREATION COMMUNAUTE CYCLISTE</a:t>
            </a:r>
            <a:endParaRPr lang="id-ID" sz="1800" b="1" spc="0" dirty="0">
              <a:solidFill>
                <a:schemeClr val="accent1"/>
              </a:solidFill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210" y="2504849"/>
            <a:ext cx="1219048" cy="1219048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205" y="2491970"/>
            <a:ext cx="1219048" cy="1219048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3162" y="2491970"/>
            <a:ext cx="1219048" cy="1219048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1698" y="2491970"/>
            <a:ext cx="1219048" cy="1219048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692" y="2422273"/>
            <a:ext cx="1219048" cy="1219048"/>
          </a:xfrm>
          <a:prstGeom prst="rect">
            <a:avLst/>
          </a:prstGeom>
        </p:spPr>
      </p:pic>
      <p:sp>
        <p:nvSpPr>
          <p:cNvPr id="32" name="Rectangle 31"/>
          <p:cNvSpPr/>
          <p:nvPr/>
        </p:nvSpPr>
        <p:spPr>
          <a:xfrm>
            <a:off x="256853" y="6565187"/>
            <a:ext cx="750014" cy="268210"/>
          </a:xfrm>
          <a:prstGeom prst="rect">
            <a:avLst/>
          </a:prstGeom>
          <a:solidFill>
            <a:srgbClr val="ED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Rectangle 32"/>
          <p:cNvSpPr/>
          <p:nvPr/>
        </p:nvSpPr>
        <p:spPr>
          <a:xfrm>
            <a:off x="9317646" y="6565187"/>
            <a:ext cx="1945439" cy="268210"/>
          </a:xfrm>
          <a:prstGeom prst="rect">
            <a:avLst/>
          </a:prstGeom>
          <a:solidFill>
            <a:srgbClr val="ED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769060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/>
      <p:bldP spid="60" grpId="0"/>
      <p:bldP spid="66" grpId="0"/>
      <p:bldP spid="72" grpId="0"/>
      <p:bldP spid="4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>
            <p:custDataLst>
              <p:tags r:id="rId1"/>
            </p:custDataLst>
          </p:nvPr>
        </p:nvSpPr>
        <p:spPr>
          <a:xfrm>
            <a:off x="1765300" y="361450"/>
            <a:ext cx="8661400" cy="56644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spc="600" dirty="0">
                <a:solidFill>
                  <a:schemeClr val="bg1">
                    <a:lumMod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DIAGRAM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9F26C4-D45C-449B-845B-D6966B6EB65F}" type="slidenum">
              <a:rPr lang="en-US" smtClean="0"/>
              <a:t>11</a:t>
            </a:fld>
            <a:endParaRPr lang="en-US" dirty="0"/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2597" y="927899"/>
            <a:ext cx="8344103" cy="5932565"/>
          </a:xfrm>
          <a:prstGeom prst="rect">
            <a:avLst/>
          </a:prstGeom>
        </p:spPr>
      </p:pic>
      <p:sp>
        <p:nvSpPr>
          <p:cNvPr id="55" name="Rectangle 54"/>
          <p:cNvSpPr/>
          <p:nvPr/>
        </p:nvSpPr>
        <p:spPr>
          <a:xfrm>
            <a:off x="256853" y="6565187"/>
            <a:ext cx="750014" cy="268210"/>
          </a:xfrm>
          <a:prstGeom prst="rect">
            <a:avLst/>
          </a:prstGeom>
          <a:solidFill>
            <a:srgbClr val="ED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6" name="Rectangle 55"/>
          <p:cNvSpPr/>
          <p:nvPr/>
        </p:nvSpPr>
        <p:spPr>
          <a:xfrm>
            <a:off x="10426700" y="6565186"/>
            <a:ext cx="836385" cy="295277"/>
          </a:xfrm>
          <a:prstGeom prst="rect">
            <a:avLst/>
          </a:prstGeom>
          <a:solidFill>
            <a:srgbClr val="ED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82536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>
            <p:custDataLst>
              <p:tags r:id="rId1"/>
            </p:custDataLst>
          </p:nvPr>
        </p:nvSpPr>
        <p:spPr>
          <a:xfrm>
            <a:off x="1765300" y="361450"/>
            <a:ext cx="8661400" cy="56644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spc="600" dirty="0">
                <a:solidFill>
                  <a:schemeClr val="bg1">
                    <a:lumMod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DIAGRAM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9F26C4-D45C-449B-845B-D6966B6EB65F}" type="slidenum">
              <a:rPr lang="en-US" smtClean="0"/>
              <a:t>12</a:t>
            </a:fld>
            <a:endParaRPr lang="en-US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702" y="1243421"/>
            <a:ext cx="10888595" cy="4706007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2462" y="1076325"/>
            <a:ext cx="10887075" cy="470535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256853" y="6565187"/>
            <a:ext cx="750014" cy="268210"/>
          </a:xfrm>
          <a:prstGeom prst="rect">
            <a:avLst/>
          </a:prstGeom>
          <a:solidFill>
            <a:srgbClr val="ED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/>
          <p:cNvSpPr/>
          <p:nvPr/>
        </p:nvSpPr>
        <p:spPr>
          <a:xfrm>
            <a:off x="9317646" y="6565187"/>
            <a:ext cx="1945439" cy="268210"/>
          </a:xfrm>
          <a:prstGeom prst="rect">
            <a:avLst/>
          </a:prstGeom>
          <a:solidFill>
            <a:srgbClr val="ED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19233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>
            <p:custDataLst>
              <p:tags r:id="rId1"/>
            </p:custDataLst>
          </p:nvPr>
        </p:nvSpPr>
        <p:spPr>
          <a:xfrm>
            <a:off x="1765300" y="361450"/>
            <a:ext cx="8661400" cy="56644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spc="600" dirty="0">
                <a:solidFill>
                  <a:schemeClr val="bg1">
                    <a:lumMod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MAQUETT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9F26C4-D45C-449B-845B-D6966B6EB65F}" type="slidenum">
              <a:rPr lang="en-US" smtClean="0"/>
              <a:t>13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56853" y="6565187"/>
            <a:ext cx="750014" cy="268210"/>
          </a:xfrm>
          <a:prstGeom prst="rect">
            <a:avLst/>
          </a:prstGeom>
          <a:solidFill>
            <a:srgbClr val="ED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/>
          <p:cNvSpPr/>
          <p:nvPr/>
        </p:nvSpPr>
        <p:spPr>
          <a:xfrm>
            <a:off x="9317646" y="6565187"/>
            <a:ext cx="1945439" cy="268210"/>
          </a:xfrm>
          <a:prstGeom prst="rect">
            <a:avLst/>
          </a:prstGeom>
          <a:solidFill>
            <a:srgbClr val="ED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4C664C4-0106-4339-A914-AE9CD938D1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3576" y="1045702"/>
            <a:ext cx="3924848" cy="515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308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>
            <p:custDataLst>
              <p:tags r:id="rId1"/>
            </p:custDataLst>
          </p:nvPr>
        </p:nvSpPr>
        <p:spPr>
          <a:xfrm>
            <a:off x="1765300" y="361450"/>
            <a:ext cx="8661400" cy="56644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spc="600" dirty="0">
                <a:solidFill>
                  <a:schemeClr val="bg1">
                    <a:lumMod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MAQUETT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9F26C4-D45C-449B-845B-D6966B6EB65F}" type="slidenum">
              <a:rPr lang="en-US" smtClean="0"/>
              <a:t>14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56853" y="6565187"/>
            <a:ext cx="750014" cy="268210"/>
          </a:xfrm>
          <a:prstGeom prst="rect">
            <a:avLst/>
          </a:prstGeom>
          <a:solidFill>
            <a:srgbClr val="ED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/>
          <p:cNvSpPr/>
          <p:nvPr/>
        </p:nvSpPr>
        <p:spPr>
          <a:xfrm>
            <a:off x="9317646" y="6565187"/>
            <a:ext cx="1945439" cy="268210"/>
          </a:xfrm>
          <a:prstGeom prst="rect">
            <a:avLst/>
          </a:prstGeom>
          <a:solidFill>
            <a:srgbClr val="ED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913F6DB-1B32-4CCB-BD39-757EDB5C5C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872" y="1651715"/>
            <a:ext cx="7416255" cy="3554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362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>
            <p:custDataLst>
              <p:tags r:id="rId1"/>
            </p:custDataLst>
          </p:nvPr>
        </p:nvSpPr>
        <p:spPr>
          <a:xfrm>
            <a:off x="1765300" y="361450"/>
            <a:ext cx="8661400" cy="56644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spc="600" dirty="0">
                <a:solidFill>
                  <a:schemeClr val="bg1">
                    <a:lumMod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MAQUETT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9F26C4-D45C-449B-845B-D6966B6EB65F}" type="slidenum">
              <a:rPr lang="en-US" smtClean="0"/>
              <a:t>15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56853" y="6565187"/>
            <a:ext cx="750014" cy="268210"/>
          </a:xfrm>
          <a:prstGeom prst="rect">
            <a:avLst/>
          </a:prstGeom>
          <a:solidFill>
            <a:srgbClr val="ED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/>
          <p:cNvSpPr/>
          <p:nvPr/>
        </p:nvSpPr>
        <p:spPr>
          <a:xfrm>
            <a:off x="9317646" y="6565187"/>
            <a:ext cx="1945439" cy="268210"/>
          </a:xfrm>
          <a:prstGeom prst="rect">
            <a:avLst/>
          </a:prstGeom>
          <a:solidFill>
            <a:srgbClr val="ED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A652B21-B4A1-4335-82F9-DB48108D95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6295" y="1556893"/>
            <a:ext cx="6155083" cy="3744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975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>
            <p:custDataLst>
              <p:tags r:id="rId1"/>
            </p:custDataLst>
          </p:nvPr>
        </p:nvSpPr>
        <p:spPr>
          <a:xfrm>
            <a:off x="1765300" y="361450"/>
            <a:ext cx="8661400" cy="56644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spc="600" dirty="0">
                <a:solidFill>
                  <a:schemeClr val="bg1">
                    <a:lumMod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API FRAMEWORK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9F26C4-D45C-449B-845B-D6966B6EB65F}" type="slidenum">
              <a:rPr lang="en-US" smtClean="0"/>
              <a:t>16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5122851" y="1910225"/>
            <a:ext cx="1874368" cy="3640827"/>
            <a:chOff x="5122851" y="1910225"/>
            <a:chExt cx="1874368" cy="3640827"/>
          </a:xfrm>
        </p:grpSpPr>
        <p:sp>
          <p:nvSpPr>
            <p:cNvPr id="104" name="Freeform 417"/>
            <p:cNvSpPr>
              <a:spLocks/>
            </p:cNvSpPr>
            <p:nvPr/>
          </p:nvSpPr>
          <p:spPr bwMode="auto">
            <a:xfrm>
              <a:off x="5494526" y="1910225"/>
              <a:ext cx="1182969" cy="1182969"/>
            </a:xfrm>
            <a:custGeom>
              <a:avLst/>
              <a:gdLst>
                <a:gd name="T0" fmla="*/ 886 w 888"/>
                <a:gd name="T1" fmla="*/ 467 h 889"/>
                <a:gd name="T2" fmla="*/ 878 w 888"/>
                <a:gd name="T3" fmla="*/ 534 h 889"/>
                <a:gd name="T4" fmla="*/ 860 w 888"/>
                <a:gd name="T5" fmla="*/ 597 h 889"/>
                <a:gd name="T6" fmla="*/ 834 w 888"/>
                <a:gd name="T7" fmla="*/ 656 h 889"/>
                <a:gd name="T8" fmla="*/ 799 w 888"/>
                <a:gd name="T9" fmla="*/ 711 h 889"/>
                <a:gd name="T10" fmla="*/ 757 w 888"/>
                <a:gd name="T11" fmla="*/ 758 h 889"/>
                <a:gd name="T12" fmla="*/ 709 w 888"/>
                <a:gd name="T13" fmla="*/ 800 h 889"/>
                <a:gd name="T14" fmla="*/ 655 w 888"/>
                <a:gd name="T15" fmla="*/ 835 h 889"/>
                <a:gd name="T16" fmla="*/ 597 w 888"/>
                <a:gd name="T17" fmla="*/ 861 h 889"/>
                <a:gd name="T18" fmla="*/ 533 w 888"/>
                <a:gd name="T19" fmla="*/ 880 h 889"/>
                <a:gd name="T20" fmla="*/ 466 w 888"/>
                <a:gd name="T21" fmla="*/ 887 h 889"/>
                <a:gd name="T22" fmla="*/ 420 w 888"/>
                <a:gd name="T23" fmla="*/ 887 h 889"/>
                <a:gd name="T24" fmla="*/ 354 w 888"/>
                <a:gd name="T25" fmla="*/ 880 h 889"/>
                <a:gd name="T26" fmla="*/ 291 w 888"/>
                <a:gd name="T27" fmla="*/ 861 h 889"/>
                <a:gd name="T28" fmla="*/ 232 w 888"/>
                <a:gd name="T29" fmla="*/ 835 h 889"/>
                <a:gd name="T30" fmla="*/ 178 w 888"/>
                <a:gd name="T31" fmla="*/ 800 h 889"/>
                <a:gd name="T32" fmla="*/ 130 w 888"/>
                <a:gd name="T33" fmla="*/ 758 h 889"/>
                <a:gd name="T34" fmla="*/ 88 w 888"/>
                <a:gd name="T35" fmla="*/ 711 h 889"/>
                <a:gd name="T36" fmla="*/ 53 w 888"/>
                <a:gd name="T37" fmla="*/ 656 h 889"/>
                <a:gd name="T38" fmla="*/ 27 w 888"/>
                <a:gd name="T39" fmla="*/ 597 h 889"/>
                <a:gd name="T40" fmla="*/ 9 w 888"/>
                <a:gd name="T41" fmla="*/ 534 h 889"/>
                <a:gd name="T42" fmla="*/ 1 w 888"/>
                <a:gd name="T43" fmla="*/ 467 h 889"/>
                <a:gd name="T44" fmla="*/ 1 w 888"/>
                <a:gd name="T45" fmla="*/ 422 h 889"/>
                <a:gd name="T46" fmla="*/ 9 w 888"/>
                <a:gd name="T47" fmla="*/ 355 h 889"/>
                <a:gd name="T48" fmla="*/ 27 w 888"/>
                <a:gd name="T49" fmla="*/ 292 h 889"/>
                <a:gd name="T50" fmla="*/ 53 w 888"/>
                <a:gd name="T51" fmla="*/ 233 h 889"/>
                <a:gd name="T52" fmla="*/ 88 w 888"/>
                <a:gd name="T53" fmla="*/ 180 h 889"/>
                <a:gd name="T54" fmla="*/ 130 w 888"/>
                <a:gd name="T55" fmla="*/ 131 h 889"/>
                <a:gd name="T56" fmla="*/ 178 w 888"/>
                <a:gd name="T57" fmla="*/ 89 h 889"/>
                <a:gd name="T58" fmla="*/ 232 w 888"/>
                <a:gd name="T59" fmla="*/ 54 h 889"/>
                <a:gd name="T60" fmla="*/ 291 w 888"/>
                <a:gd name="T61" fmla="*/ 28 h 889"/>
                <a:gd name="T62" fmla="*/ 354 w 888"/>
                <a:gd name="T63" fmla="*/ 10 h 889"/>
                <a:gd name="T64" fmla="*/ 420 w 888"/>
                <a:gd name="T65" fmla="*/ 2 h 889"/>
                <a:gd name="T66" fmla="*/ 466 w 888"/>
                <a:gd name="T67" fmla="*/ 2 h 889"/>
                <a:gd name="T68" fmla="*/ 533 w 888"/>
                <a:gd name="T69" fmla="*/ 10 h 889"/>
                <a:gd name="T70" fmla="*/ 597 w 888"/>
                <a:gd name="T71" fmla="*/ 28 h 889"/>
                <a:gd name="T72" fmla="*/ 655 w 888"/>
                <a:gd name="T73" fmla="*/ 54 h 889"/>
                <a:gd name="T74" fmla="*/ 709 w 888"/>
                <a:gd name="T75" fmla="*/ 89 h 889"/>
                <a:gd name="T76" fmla="*/ 757 w 888"/>
                <a:gd name="T77" fmla="*/ 131 h 889"/>
                <a:gd name="T78" fmla="*/ 799 w 888"/>
                <a:gd name="T79" fmla="*/ 180 h 889"/>
                <a:gd name="T80" fmla="*/ 834 w 888"/>
                <a:gd name="T81" fmla="*/ 233 h 889"/>
                <a:gd name="T82" fmla="*/ 860 w 888"/>
                <a:gd name="T83" fmla="*/ 292 h 889"/>
                <a:gd name="T84" fmla="*/ 878 w 888"/>
                <a:gd name="T85" fmla="*/ 355 h 889"/>
                <a:gd name="T86" fmla="*/ 886 w 888"/>
                <a:gd name="T87" fmla="*/ 422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88" h="889">
                  <a:moveTo>
                    <a:pt x="888" y="445"/>
                  </a:moveTo>
                  <a:lnTo>
                    <a:pt x="888" y="445"/>
                  </a:lnTo>
                  <a:lnTo>
                    <a:pt x="886" y="467"/>
                  </a:lnTo>
                  <a:lnTo>
                    <a:pt x="885" y="491"/>
                  </a:lnTo>
                  <a:lnTo>
                    <a:pt x="883" y="512"/>
                  </a:lnTo>
                  <a:lnTo>
                    <a:pt x="878" y="534"/>
                  </a:lnTo>
                  <a:lnTo>
                    <a:pt x="873" y="555"/>
                  </a:lnTo>
                  <a:lnTo>
                    <a:pt x="868" y="576"/>
                  </a:lnTo>
                  <a:lnTo>
                    <a:pt x="860" y="597"/>
                  </a:lnTo>
                  <a:lnTo>
                    <a:pt x="853" y="617"/>
                  </a:lnTo>
                  <a:lnTo>
                    <a:pt x="843" y="637"/>
                  </a:lnTo>
                  <a:lnTo>
                    <a:pt x="834" y="656"/>
                  </a:lnTo>
                  <a:lnTo>
                    <a:pt x="823" y="675"/>
                  </a:lnTo>
                  <a:lnTo>
                    <a:pt x="812" y="693"/>
                  </a:lnTo>
                  <a:lnTo>
                    <a:pt x="799" y="711"/>
                  </a:lnTo>
                  <a:lnTo>
                    <a:pt x="786" y="727"/>
                  </a:lnTo>
                  <a:lnTo>
                    <a:pt x="772" y="743"/>
                  </a:lnTo>
                  <a:lnTo>
                    <a:pt x="757" y="758"/>
                  </a:lnTo>
                  <a:lnTo>
                    <a:pt x="742" y="773"/>
                  </a:lnTo>
                  <a:lnTo>
                    <a:pt x="726" y="787"/>
                  </a:lnTo>
                  <a:lnTo>
                    <a:pt x="709" y="800"/>
                  </a:lnTo>
                  <a:lnTo>
                    <a:pt x="691" y="813"/>
                  </a:lnTo>
                  <a:lnTo>
                    <a:pt x="674" y="824"/>
                  </a:lnTo>
                  <a:lnTo>
                    <a:pt x="655" y="835"/>
                  </a:lnTo>
                  <a:lnTo>
                    <a:pt x="636" y="845"/>
                  </a:lnTo>
                  <a:lnTo>
                    <a:pt x="617" y="854"/>
                  </a:lnTo>
                  <a:lnTo>
                    <a:pt x="597" y="861"/>
                  </a:lnTo>
                  <a:lnTo>
                    <a:pt x="575" y="869"/>
                  </a:lnTo>
                  <a:lnTo>
                    <a:pt x="554" y="875"/>
                  </a:lnTo>
                  <a:lnTo>
                    <a:pt x="533" y="880"/>
                  </a:lnTo>
                  <a:lnTo>
                    <a:pt x="511" y="884"/>
                  </a:lnTo>
                  <a:lnTo>
                    <a:pt x="488" y="886"/>
                  </a:lnTo>
                  <a:lnTo>
                    <a:pt x="466" y="887"/>
                  </a:lnTo>
                  <a:lnTo>
                    <a:pt x="444" y="889"/>
                  </a:lnTo>
                  <a:lnTo>
                    <a:pt x="444" y="889"/>
                  </a:lnTo>
                  <a:lnTo>
                    <a:pt x="420" y="887"/>
                  </a:lnTo>
                  <a:lnTo>
                    <a:pt x="398" y="886"/>
                  </a:lnTo>
                  <a:lnTo>
                    <a:pt x="377" y="884"/>
                  </a:lnTo>
                  <a:lnTo>
                    <a:pt x="354" y="880"/>
                  </a:lnTo>
                  <a:lnTo>
                    <a:pt x="333" y="875"/>
                  </a:lnTo>
                  <a:lnTo>
                    <a:pt x="312" y="869"/>
                  </a:lnTo>
                  <a:lnTo>
                    <a:pt x="291" y="861"/>
                  </a:lnTo>
                  <a:lnTo>
                    <a:pt x="271" y="854"/>
                  </a:lnTo>
                  <a:lnTo>
                    <a:pt x="251" y="845"/>
                  </a:lnTo>
                  <a:lnTo>
                    <a:pt x="232" y="835"/>
                  </a:lnTo>
                  <a:lnTo>
                    <a:pt x="214" y="824"/>
                  </a:lnTo>
                  <a:lnTo>
                    <a:pt x="195" y="813"/>
                  </a:lnTo>
                  <a:lnTo>
                    <a:pt x="178" y="800"/>
                  </a:lnTo>
                  <a:lnTo>
                    <a:pt x="161" y="787"/>
                  </a:lnTo>
                  <a:lnTo>
                    <a:pt x="145" y="773"/>
                  </a:lnTo>
                  <a:lnTo>
                    <a:pt x="130" y="758"/>
                  </a:lnTo>
                  <a:lnTo>
                    <a:pt x="115" y="743"/>
                  </a:lnTo>
                  <a:lnTo>
                    <a:pt x="102" y="727"/>
                  </a:lnTo>
                  <a:lnTo>
                    <a:pt x="88" y="711"/>
                  </a:lnTo>
                  <a:lnTo>
                    <a:pt x="76" y="693"/>
                  </a:lnTo>
                  <a:lnTo>
                    <a:pt x="64" y="675"/>
                  </a:lnTo>
                  <a:lnTo>
                    <a:pt x="53" y="656"/>
                  </a:lnTo>
                  <a:lnTo>
                    <a:pt x="43" y="637"/>
                  </a:lnTo>
                  <a:lnTo>
                    <a:pt x="35" y="617"/>
                  </a:lnTo>
                  <a:lnTo>
                    <a:pt x="27" y="597"/>
                  </a:lnTo>
                  <a:lnTo>
                    <a:pt x="20" y="576"/>
                  </a:lnTo>
                  <a:lnTo>
                    <a:pt x="14" y="555"/>
                  </a:lnTo>
                  <a:lnTo>
                    <a:pt x="9" y="534"/>
                  </a:lnTo>
                  <a:lnTo>
                    <a:pt x="5" y="512"/>
                  </a:lnTo>
                  <a:lnTo>
                    <a:pt x="2" y="491"/>
                  </a:lnTo>
                  <a:lnTo>
                    <a:pt x="1" y="467"/>
                  </a:lnTo>
                  <a:lnTo>
                    <a:pt x="0" y="445"/>
                  </a:lnTo>
                  <a:lnTo>
                    <a:pt x="0" y="445"/>
                  </a:lnTo>
                  <a:lnTo>
                    <a:pt x="1" y="422"/>
                  </a:lnTo>
                  <a:lnTo>
                    <a:pt x="2" y="400"/>
                  </a:lnTo>
                  <a:lnTo>
                    <a:pt x="5" y="377"/>
                  </a:lnTo>
                  <a:lnTo>
                    <a:pt x="9" y="355"/>
                  </a:lnTo>
                  <a:lnTo>
                    <a:pt x="14" y="334"/>
                  </a:lnTo>
                  <a:lnTo>
                    <a:pt x="20" y="313"/>
                  </a:lnTo>
                  <a:lnTo>
                    <a:pt x="27" y="292"/>
                  </a:lnTo>
                  <a:lnTo>
                    <a:pt x="35" y="272"/>
                  </a:lnTo>
                  <a:lnTo>
                    <a:pt x="43" y="252"/>
                  </a:lnTo>
                  <a:lnTo>
                    <a:pt x="53" y="233"/>
                  </a:lnTo>
                  <a:lnTo>
                    <a:pt x="64" y="214"/>
                  </a:lnTo>
                  <a:lnTo>
                    <a:pt x="76" y="197"/>
                  </a:lnTo>
                  <a:lnTo>
                    <a:pt x="88" y="180"/>
                  </a:lnTo>
                  <a:lnTo>
                    <a:pt x="102" y="162"/>
                  </a:lnTo>
                  <a:lnTo>
                    <a:pt x="115" y="146"/>
                  </a:lnTo>
                  <a:lnTo>
                    <a:pt x="130" y="131"/>
                  </a:lnTo>
                  <a:lnTo>
                    <a:pt x="145" y="116"/>
                  </a:lnTo>
                  <a:lnTo>
                    <a:pt x="161" y="102"/>
                  </a:lnTo>
                  <a:lnTo>
                    <a:pt x="178" y="89"/>
                  </a:lnTo>
                  <a:lnTo>
                    <a:pt x="195" y="76"/>
                  </a:lnTo>
                  <a:lnTo>
                    <a:pt x="214" y="65"/>
                  </a:lnTo>
                  <a:lnTo>
                    <a:pt x="232" y="54"/>
                  </a:lnTo>
                  <a:lnTo>
                    <a:pt x="251" y="44"/>
                  </a:lnTo>
                  <a:lnTo>
                    <a:pt x="271" y="35"/>
                  </a:lnTo>
                  <a:lnTo>
                    <a:pt x="291" y="28"/>
                  </a:lnTo>
                  <a:lnTo>
                    <a:pt x="312" y="20"/>
                  </a:lnTo>
                  <a:lnTo>
                    <a:pt x="333" y="15"/>
                  </a:lnTo>
                  <a:lnTo>
                    <a:pt x="354" y="10"/>
                  </a:lnTo>
                  <a:lnTo>
                    <a:pt x="377" y="5"/>
                  </a:lnTo>
                  <a:lnTo>
                    <a:pt x="398" y="3"/>
                  </a:lnTo>
                  <a:lnTo>
                    <a:pt x="420" y="2"/>
                  </a:lnTo>
                  <a:lnTo>
                    <a:pt x="444" y="0"/>
                  </a:lnTo>
                  <a:lnTo>
                    <a:pt x="444" y="0"/>
                  </a:lnTo>
                  <a:lnTo>
                    <a:pt x="466" y="2"/>
                  </a:lnTo>
                  <a:lnTo>
                    <a:pt x="488" y="3"/>
                  </a:lnTo>
                  <a:lnTo>
                    <a:pt x="511" y="5"/>
                  </a:lnTo>
                  <a:lnTo>
                    <a:pt x="533" y="10"/>
                  </a:lnTo>
                  <a:lnTo>
                    <a:pt x="554" y="15"/>
                  </a:lnTo>
                  <a:lnTo>
                    <a:pt x="575" y="20"/>
                  </a:lnTo>
                  <a:lnTo>
                    <a:pt x="597" y="28"/>
                  </a:lnTo>
                  <a:lnTo>
                    <a:pt x="617" y="35"/>
                  </a:lnTo>
                  <a:lnTo>
                    <a:pt x="636" y="44"/>
                  </a:lnTo>
                  <a:lnTo>
                    <a:pt x="655" y="54"/>
                  </a:lnTo>
                  <a:lnTo>
                    <a:pt x="674" y="65"/>
                  </a:lnTo>
                  <a:lnTo>
                    <a:pt x="691" y="76"/>
                  </a:lnTo>
                  <a:lnTo>
                    <a:pt x="709" y="89"/>
                  </a:lnTo>
                  <a:lnTo>
                    <a:pt x="726" y="102"/>
                  </a:lnTo>
                  <a:lnTo>
                    <a:pt x="742" y="116"/>
                  </a:lnTo>
                  <a:lnTo>
                    <a:pt x="757" y="131"/>
                  </a:lnTo>
                  <a:lnTo>
                    <a:pt x="772" y="146"/>
                  </a:lnTo>
                  <a:lnTo>
                    <a:pt x="786" y="162"/>
                  </a:lnTo>
                  <a:lnTo>
                    <a:pt x="799" y="180"/>
                  </a:lnTo>
                  <a:lnTo>
                    <a:pt x="812" y="197"/>
                  </a:lnTo>
                  <a:lnTo>
                    <a:pt x="823" y="214"/>
                  </a:lnTo>
                  <a:lnTo>
                    <a:pt x="834" y="233"/>
                  </a:lnTo>
                  <a:lnTo>
                    <a:pt x="843" y="252"/>
                  </a:lnTo>
                  <a:lnTo>
                    <a:pt x="853" y="272"/>
                  </a:lnTo>
                  <a:lnTo>
                    <a:pt x="860" y="292"/>
                  </a:lnTo>
                  <a:lnTo>
                    <a:pt x="868" y="313"/>
                  </a:lnTo>
                  <a:lnTo>
                    <a:pt x="873" y="334"/>
                  </a:lnTo>
                  <a:lnTo>
                    <a:pt x="878" y="355"/>
                  </a:lnTo>
                  <a:lnTo>
                    <a:pt x="883" y="377"/>
                  </a:lnTo>
                  <a:lnTo>
                    <a:pt x="885" y="400"/>
                  </a:lnTo>
                  <a:lnTo>
                    <a:pt x="886" y="422"/>
                  </a:lnTo>
                  <a:lnTo>
                    <a:pt x="888" y="44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Titillium" panose="00000500000000000000" pitchFamily="50" charset="0"/>
              </a:endParaRPr>
            </a:p>
          </p:txBody>
        </p:sp>
        <p:sp>
          <p:nvSpPr>
            <p:cNvPr id="109" name="Freeform 108"/>
            <p:cNvSpPr>
              <a:spLocks/>
            </p:cNvSpPr>
            <p:nvPr/>
          </p:nvSpPr>
          <p:spPr bwMode="auto">
            <a:xfrm>
              <a:off x="5842224" y="2949316"/>
              <a:ext cx="1154995" cy="1894349"/>
            </a:xfrm>
            <a:custGeom>
              <a:avLst/>
              <a:gdLst>
                <a:gd name="connsiteX0" fmla="*/ 429660 w 1154995"/>
                <a:gd name="connsiteY0" fmla="*/ 227803 h 1894349"/>
                <a:gd name="connsiteX1" fmla="*/ 445579 w 1154995"/>
                <a:gd name="connsiteY1" fmla="*/ 227803 h 1894349"/>
                <a:gd name="connsiteX2" fmla="*/ 462824 w 1154995"/>
                <a:gd name="connsiteY2" fmla="*/ 229130 h 1894349"/>
                <a:gd name="connsiteX3" fmla="*/ 477417 w 1154995"/>
                <a:gd name="connsiteY3" fmla="*/ 231783 h 1894349"/>
                <a:gd name="connsiteX4" fmla="*/ 492009 w 1154995"/>
                <a:gd name="connsiteY4" fmla="*/ 235763 h 1894349"/>
                <a:gd name="connsiteX5" fmla="*/ 506601 w 1154995"/>
                <a:gd name="connsiteY5" fmla="*/ 242395 h 1894349"/>
                <a:gd name="connsiteX6" fmla="*/ 519867 w 1154995"/>
                <a:gd name="connsiteY6" fmla="*/ 249028 h 1894349"/>
                <a:gd name="connsiteX7" fmla="*/ 531806 w 1154995"/>
                <a:gd name="connsiteY7" fmla="*/ 258314 h 1894349"/>
                <a:gd name="connsiteX8" fmla="*/ 545072 w 1154995"/>
                <a:gd name="connsiteY8" fmla="*/ 266274 h 1894349"/>
                <a:gd name="connsiteX9" fmla="*/ 554358 w 1154995"/>
                <a:gd name="connsiteY9" fmla="*/ 278213 h 1894349"/>
                <a:gd name="connsiteX10" fmla="*/ 564971 w 1154995"/>
                <a:gd name="connsiteY10" fmla="*/ 290152 h 1894349"/>
                <a:gd name="connsiteX11" fmla="*/ 572930 w 1154995"/>
                <a:gd name="connsiteY11" fmla="*/ 303418 h 1894349"/>
                <a:gd name="connsiteX12" fmla="*/ 580890 w 1154995"/>
                <a:gd name="connsiteY12" fmla="*/ 316683 h 1894349"/>
                <a:gd name="connsiteX13" fmla="*/ 586196 w 1154995"/>
                <a:gd name="connsiteY13" fmla="*/ 331276 h 1894349"/>
                <a:gd name="connsiteX14" fmla="*/ 591502 w 1154995"/>
                <a:gd name="connsiteY14" fmla="*/ 345868 h 1894349"/>
                <a:gd name="connsiteX15" fmla="*/ 594156 w 1154995"/>
                <a:gd name="connsiteY15" fmla="*/ 360460 h 1894349"/>
                <a:gd name="connsiteX16" fmla="*/ 595482 w 1154995"/>
                <a:gd name="connsiteY16" fmla="*/ 377706 h 1894349"/>
                <a:gd name="connsiteX17" fmla="*/ 595482 w 1154995"/>
                <a:gd name="connsiteY17" fmla="*/ 393625 h 1894349"/>
                <a:gd name="connsiteX18" fmla="*/ 594156 w 1154995"/>
                <a:gd name="connsiteY18" fmla="*/ 408217 h 1894349"/>
                <a:gd name="connsiteX19" fmla="*/ 591502 w 1154995"/>
                <a:gd name="connsiteY19" fmla="*/ 425462 h 1894349"/>
                <a:gd name="connsiteX20" fmla="*/ 587523 w 1154995"/>
                <a:gd name="connsiteY20" fmla="*/ 440055 h 1894349"/>
                <a:gd name="connsiteX21" fmla="*/ 580890 w 1154995"/>
                <a:gd name="connsiteY21" fmla="*/ 453320 h 1894349"/>
                <a:gd name="connsiteX22" fmla="*/ 574257 w 1154995"/>
                <a:gd name="connsiteY22" fmla="*/ 467913 h 1894349"/>
                <a:gd name="connsiteX23" fmla="*/ 564971 w 1154995"/>
                <a:gd name="connsiteY23" fmla="*/ 479852 h 1894349"/>
                <a:gd name="connsiteX24" fmla="*/ 554358 w 1154995"/>
                <a:gd name="connsiteY24" fmla="*/ 491791 h 1894349"/>
                <a:gd name="connsiteX25" fmla="*/ 545072 w 1154995"/>
                <a:gd name="connsiteY25" fmla="*/ 502403 h 1894349"/>
                <a:gd name="connsiteX26" fmla="*/ 533133 w 1154995"/>
                <a:gd name="connsiteY26" fmla="*/ 513016 h 1894349"/>
                <a:gd name="connsiteX27" fmla="*/ 519867 w 1154995"/>
                <a:gd name="connsiteY27" fmla="*/ 520975 h 1894349"/>
                <a:gd name="connsiteX28" fmla="*/ 506601 w 1154995"/>
                <a:gd name="connsiteY28" fmla="*/ 527608 h 1894349"/>
                <a:gd name="connsiteX29" fmla="*/ 492009 w 1154995"/>
                <a:gd name="connsiteY29" fmla="*/ 534241 h 1894349"/>
                <a:gd name="connsiteX30" fmla="*/ 477417 w 1154995"/>
                <a:gd name="connsiteY30" fmla="*/ 539547 h 1894349"/>
                <a:gd name="connsiteX31" fmla="*/ 462824 w 1154995"/>
                <a:gd name="connsiteY31" fmla="*/ 542201 h 1894349"/>
                <a:gd name="connsiteX32" fmla="*/ 445579 w 1154995"/>
                <a:gd name="connsiteY32" fmla="*/ 543527 h 1894349"/>
                <a:gd name="connsiteX33" fmla="*/ 429660 w 1154995"/>
                <a:gd name="connsiteY33" fmla="*/ 543527 h 1894349"/>
                <a:gd name="connsiteX34" fmla="*/ 412414 w 1154995"/>
                <a:gd name="connsiteY34" fmla="*/ 542201 h 1894349"/>
                <a:gd name="connsiteX35" fmla="*/ 397822 w 1154995"/>
                <a:gd name="connsiteY35" fmla="*/ 539547 h 1894349"/>
                <a:gd name="connsiteX36" fmla="*/ 383229 w 1154995"/>
                <a:gd name="connsiteY36" fmla="*/ 534241 h 1894349"/>
                <a:gd name="connsiteX37" fmla="*/ 369964 w 1154995"/>
                <a:gd name="connsiteY37" fmla="*/ 528935 h 1894349"/>
                <a:gd name="connsiteX38" fmla="*/ 355371 w 1154995"/>
                <a:gd name="connsiteY38" fmla="*/ 520975 h 1894349"/>
                <a:gd name="connsiteX39" fmla="*/ 343432 w 1154995"/>
                <a:gd name="connsiteY39" fmla="*/ 513016 h 1894349"/>
                <a:gd name="connsiteX40" fmla="*/ 331493 w 1154995"/>
                <a:gd name="connsiteY40" fmla="*/ 502403 h 1894349"/>
                <a:gd name="connsiteX41" fmla="*/ 320880 w 1154995"/>
                <a:gd name="connsiteY41" fmla="*/ 493117 h 1894349"/>
                <a:gd name="connsiteX42" fmla="*/ 310268 w 1154995"/>
                <a:gd name="connsiteY42" fmla="*/ 481178 h 1894349"/>
                <a:gd name="connsiteX43" fmla="*/ 302308 w 1154995"/>
                <a:gd name="connsiteY43" fmla="*/ 467913 h 1894349"/>
                <a:gd name="connsiteX44" fmla="*/ 294349 w 1154995"/>
                <a:gd name="connsiteY44" fmla="*/ 454647 h 1894349"/>
                <a:gd name="connsiteX45" fmla="*/ 289042 w 1154995"/>
                <a:gd name="connsiteY45" fmla="*/ 440055 h 1894349"/>
                <a:gd name="connsiteX46" fmla="*/ 283736 w 1154995"/>
                <a:gd name="connsiteY46" fmla="*/ 425462 h 1894349"/>
                <a:gd name="connsiteX47" fmla="*/ 281083 w 1154995"/>
                <a:gd name="connsiteY47" fmla="*/ 408217 h 1894349"/>
                <a:gd name="connsiteX48" fmla="*/ 279756 w 1154995"/>
                <a:gd name="connsiteY48" fmla="*/ 393625 h 1894349"/>
                <a:gd name="connsiteX49" fmla="*/ 279756 w 1154995"/>
                <a:gd name="connsiteY49" fmla="*/ 377706 h 1894349"/>
                <a:gd name="connsiteX50" fmla="*/ 281083 w 1154995"/>
                <a:gd name="connsiteY50" fmla="*/ 360460 h 1894349"/>
                <a:gd name="connsiteX51" fmla="*/ 283736 w 1154995"/>
                <a:gd name="connsiteY51" fmla="*/ 345868 h 1894349"/>
                <a:gd name="connsiteX52" fmla="*/ 289042 w 1154995"/>
                <a:gd name="connsiteY52" fmla="*/ 331276 h 1894349"/>
                <a:gd name="connsiteX53" fmla="*/ 294349 w 1154995"/>
                <a:gd name="connsiteY53" fmla="*/ 316683 h 1894349"/>
                <a:gd name="connsiteX54" fmla="*/ 302308 w 1154995"/>
                <a:gd name="connsiteY54" fmla="*/ 303418 h 1894349"/>
                <a:gd name="connsiteX55" fmla="*/ 310268 w 1154995"/>
                <a:gd name="connsiteY55" fmla="*/ 290152 h 1894349"/>
                <a:gd name="connsiteX56" fmla="*/ 320880 w 1154995"/>
                <a:gd name="connsiteY56" fmla="*/ 278213 h 1894349"/>
                <a:gd name="connsiteX57" fmla="*/ 330166 w 1154995"/>
                <a:gd name="connsiteY57" fmla="*/ 268927 h 1894349"/>
                <a:gd name="connsiteX58" fmla="*/ 342106 w 1154995"/>
                <a:gd name="connsiteY58" fmla="*/ 258314 h 1894349"/>
                <a:gd name="connsiteX59" fmla="*/ 355371 w 1154995"/>
                <a:gd name="connsiteY59" fmla="*/ 250355 h 1894349"/>
                <a:gd name="connsiteX60" fmla="*/ 368637 w 1154995"/>
                <a:gd name="connsiteY60" fmla="*/ 242395 h 1894349"/>
                <a:gd name="connsiteX61" fmla="*/ 383229 w 1154995"/>
                <a:gd name="connsiteY61" fmla="*/ 235763 h 1894349"/>
                <a:gd name="connsiteX62" fmla="*/ 397822 w 1154995"/>
                <a:gd name="connsiteY62" fmla="*/ 231783 h 1894349"/>
                <a:gd name="connsiteX63" fmla="*/ 412414 w 1154995"/>
                <a:gd name="connsiteY63" fmla="*/ 229130 h 1894349"/>
                <a:gd name="connsiteX64" fmla="*/ 59948 w 1154995"/>
                <a:gd name="connsiteY64" fmla="*/ 0 h 1894349"/>
                <a:gd name="connsiteX65" fmla="*/ 70605 w 1154995"/>
                <a:gd name="connsiteY65" fmla="*/ 0 h 1894349"/>
                <a:gd name="connsiteX66" fmla="*/ 83927 w 1154995"/>
                <a:gd name="connsiteY66" fmla="*/ 3972 h 1894349"/>
                <a:gd name="connsiteX67" fmla="*/ 95917 w 1154995"/>
                <a:gd name="connsiteY67" fmla="*/ 7945 h 1894349"/>
                <a:gd name="connsiteX68" fmla="*/ 106574 w 1154995"/>
                <a:gd name="connsiteY68" fmla="*/ 14565 h 1894349"/>
                <a:gd name="connsiteX69" fmla="*/ 114567 w 1154995"/>
                <a:gd name="connsiteY69" fmla="*/ 25159 h 1894349"/>
                <a:gd name="connsiteX70" fmla="*/ 122560 w 1154995"/>
                <a:gd name="connsiteY70" fmla="*/ 34428 h 1894349"/>
                <a:gd name="connsiteX71" fmla="*/ 125225 w 1154995"/>
                <a:gd name="connsiteY71" fmla="*/ 46345 h 1894349"/>
                <a:gd name="connsiteX72" fmla="*/ 129221 w 1154995"/>
                <a:gd name="connsiteY72" fmla="*/ 59587 h 1894349"/>
                <a:gd name="connsiteX73" fmla="*/ 154785 w 1154995"/>
                <a:gd name="connsiteY73" fmla="*/ 356876 h 1894349"/>
                <a:gd name="connsiteX74" fmla="*/ 302473 w 1154995"/>
                <a:gd name="connsiteY74" fmla="*/ 563802 h 1894349"/>
                <a:gd name="connsiteX75" fmla="*/ 317056 w 1154995"/>
                <a:gd name="connsiteY75" fmla="*/ 564846 h 1894349"/>
                <a:gd name="connsiteX76" fmla="*/ 456935 w 1154995"/>
                <a:gd name="connsiteY76" fmla="*/ 590207 h 1894349"/>
                <a:gd name="connsiteX77" fmla="*/ 472921 w 1154995"/>
                <a:gd name="connsiteY77" fmla="*/ 595546 h 1894349"/>
                <a:gd name="connsiteX78" fmla="*/ 488907 w 1154995"/>
                <a:gd name="connsiteY78" fmla="*/ 603555 h 1894349"/>
                <a:gd name="connsiteX79" fmla="*/ 490977 w 1154995"/>
                <a:gd name="connsiteY79" fmla="*/ 605422 h 1894349"/>
                <a:gd name="connsiteX80" fmla="*/ 746856 w 1154995"/>
                <a:gd name="connsiteY80" fmla="*/ 732952 h 1894349"/>
                <a:gd name="connsiteX81" fmla="*/ 1087241 w 1154995"/>
                <a:gd name="connsiteY81" fmla="*/ 707385 h 1894349"/>
                <a:gd name="connsiteX82" fmla="*/ 1100526 w 1154995"/>
                <a:gd name="connsiteY82" fmla="*/ 708717 h 1894349"/>
                <a:gd name="connsiteX83" fmla="*/ 1112483 w 1154995"/>
                <a:gd name="connsiteY83" fmla="*/ 712714 h 1894349"/>
                <a:gd name="connsiteX84" fmla="*/ 1123111 w 1154995"/>
                <a:gd name="connsiteY84" fmla="*/ 718042 h 1894349"/>
                <a:gd name="connsiteX85" fmla="*/ 1132410 w 1154995"/>
                <a:gd name="connsiteY85" fmla="*/ 724703 h 1894349"/>
                <a:gd name="connsiteX86" fmla="*/ 1141710 w 1154995"/>
                <a:gd name="connsiteY86" fmla="*/ 734028 h 1894349"/>
                <a:gd name="connsiteX87" fmla="*/ 1148353 w 1154995"/>
                <a:gd name="connsiteY87" fmla="*/ 744686 h 1894349"/>
                <a:gd name="connsiteX88" fmla="*/ 1152338 w 1154995"/>
                <a:gd name="connsiteY88" fmla="*/ 758007 h 1894349"/>
                <a:gd name="connsiteX89" fmla="*/ 1154995 w 1154995"/>
                <a:gd name="connsiteY89" fmla="*/ 769997 h 1894349"/>
                <a:gd name="connsiteX90" fmla="*/ 1154995 w 1154995"/>
                <a:gd name="connsiteY90" fmla="*/ 781986 h 1894349"/>
                <a:gd name="connsiteX91" fmla="*/ 1151010 w 1154995"/>
                <a:gd name="connsiteY91" fmla="*/ 795308 h 1894349"/>
                <a:gd name="connsiteX92" fmla="*/ 1145696 w 1154995"/>
                <a:gd name="connsiteY92" fmla="*/ 807297 h 1894349"/>
                <a:gd name="connsiteX93" fmla="*/ 1137725 w 1154995"/>
                <a:gd name="connsiteY93" fmla="*/ 816622 h 1894349"/>
                <a:gd name="connsiteX94" fmla="*/ 1129753 w 1154995"/>
                <a:gd name="connsiteY94" fmla="*/ 825948 h 1894349"/>
                <a:gd name="connsiteX95" fmla="*/ 1117797 w 1154995"/>
                <a:gd name="connsiteY95" fmla="*/ 832608 h 1894349"/>
                <a:gd name="connsiteX96" fmla="*/ 1105840 w 1154995"/>
                <a:gd name="connsiteY96" fmla="*/ 835273 h 1894349"/>
                <a:gd name="connsiteX97" fmla="*/ 1093883 w 1154995"/>
                <a:gd name="connsiteY97" fmla="*/ 837937 h 1894349"/>
                <a:gd name="connsiteX98" fmla="*/ 739170 w 1154995"/>
                <a:gd name="connsiteY98" fmla="*/ 863248 h 1894349"/>
                <a:gd name="connsiteX99" fmla="*/ 727213 w 1154995"/>
                <a:gd name="connsiteY99" fmla="*/ 863248 h 1894349"/>
                <a:gd name="connsiteX100" fmla="*/ 713928 w 1154995"/>
                <a:gd name="connsiteY100" fmla="*/ 860584 h 1894349"/>
                <a:gd name="connsiteX101" fmla="*/ 703300 w 1154995"/>
                <a:gd name="connsiteY101" fmla="*/ 855255 h 1894349"/>
                <a:gd name="connsiteX102" fmla="*/ 702765 w 1154995"/>
                <a:gd name="connsiteY102" fmla="*/ 854796 h 1894349"/>
                <a:gd name="connsiteX103" fmla="*/ 697340 w 1154995"/>
                <a:gd name="connsiteY103" fmla="*/ 852622 h 1894349"/>
                <a:gd name="connsiteX104" fmla="*/ 516986 w 1154995"/>
                <a:gd name="connsiteY104" fmla="*/ 762306 h 1894349"/>
                <a:gd name="connsiteX105" fmla="*/ 447956 w 1154995"/>
                <a:gd name="connsiteY105" fmla="*/ 1141641 h 1894349"/>
                <a:gd name="connsiteX106" fmla="*/ 516334 w 1154995"/>
                <a:gd name="connsiteY106" fmla="*/ 1392722 h 1894349"/>
                <a:gd name="connsiteX107" fmla="*/ 525481 w 1154995"/>
                <a:gd name="connsiteY107" fmla="*/ 1404112 h 1894349"/>
                <a:gd name="connsiteX108" fmla="*/ 703342 w 1154995"/>
                <a:gd name="connsiteY108" fmla="*/ 1706515 h 1894349"/>
                <a:gd name="connsiteX109" fmla="*/ 710028 w 1154995"/>
                <a:gd name="connsiteY109" fmla="*/ 1723833 h 1894349"/>
                <a:gd name="connsiteX110" fmla="*/ 712703 w 1154995"/>
                <a:gd name="connsiteY110" fmla="*/ 1738487 h 1894349"/>
                <a:gd name="connsiteX111" fmla="*/ 715377 w 1154995"/>
                <a:gd name="connsiteY111" fmla="*/ 1754473 h 1894349"/>
                <a:gd name="connsiteX112" fmla="*/ 711365 w 1154995"/>
                <a:gd name="connsiteY112" fmla="*/ 1771791 h 1894349"/>
                <a:gd name="connsiteX113" fmla="*/ 706016 w 1154995"/>
                <a:gd name="connsiteY113" fmla="*/ 1786445 h 1894349"/>
                <a:gd name="connsiteX114" fmla="*/ 697992 w 1154995"/>
                <a:gd name="connsiteY114" fmla="*/ 1801099 h 1894349"/>
                <a:gd name="connsiteX115" fmla="*/ 685957 w 1154995"/>
                <a:gd name="connsiteY115" fmla="*/ 1813088 h 1894349"/>
                <a:gd name="connsiteX116" fmla="*/ 672584 w 1154995"/>
                <a:gd name="connsiteY116" fmla="*/ 1822414 h 1894349"/>
                <a:gd name="connsiteX117" fmla="*/ 656536 w 1154995"/>
                <a:gd name="connsiteY117" fmla="*/ 1831739 h 1894349"/>
                <a:gd name="connsiteX118" fmla="*/ 641826 w 1154995"/>
                <a:gd name="connsiteY118" fmla="*/ 1834403 h 1894349"/>
                <a:gd name="connsiteX119" fmla="*/ 624441 w 1154995"/>
                <a:gd name="connsiteY119" fmla="*/ 1834403 h 1894349"/>
                <a:gd name="connsiteX120" fmla="*/ 608393 w 1154995"/>
                <a:gd name="connsiteY120" fmla="*/ 1833071 h 1894349"/>
                <a:gd name="connsiteX121" fmla="*/ 593683 w 1154995"/>
                <a:gd name="connsiteY121" fmla="*/ 1826410 h 1894349"/>
                <a:gd name="connsiteX122" fmla="*/ 578973 w 1154995"/>
                <a:gd name="connsiteY122" fmla="*/ 1818417 h 1894349"/>
                <a:gd name="connsiteX123" fmla="*/ 566937 w 1154995"/>
                <a:gd name="connsiteY123" fmla="*/ 1807760 h 1894349"/>
                <a:gd name="connsiteX124" fmla="*/ 556239 w 1154995"/>
                <a:gd name="connsiteY124" fmla="*/ 1793106 h 1894349"/>
                <a:gd name="connsiteX125" fmla="*/ 378378 w 1154995"/>
                <a:gd name="connsiteY125" fmla="*/ 1489371 h 1894349"/>
                <a:gd name="connsiteX126" fmla="*/ 371691 w 1154995"/>
                <a:gd name="connsiteY126" fmla="*/ 1474717 h 1894349"/>
                <a:gd name="connsiteX127" fmla="*/ 371044 w 1154995"/>
                <a:gd name="connsiteY127" fmla="*/ 1470849 h 1894349"/>
                <a:gd name="connsiteX128" fmla="*/ 369735 w 1154995"/>
                <a:gd name="connsiteY128" fmla="*/ 1469387 h 1894349"/>
                <a:gd name="connsiteX129" fmla="*/ 361780 w 1154995"/>
                <a:gd name="connsiteY129" fmla="*/ 1456065 h 1894349"/>
                <a:gd name="connsiteX130" fmla="*/ 355151 w 1154995"/>
                <a:gd name="connsiteY130" fmla="*/ 1440079 h 1894349"/>
                <a:gd name="connsiteX131" fmla="*/ 297934 w 1154995"/>
                <a:gd name="connsiteY131" fmla="*/ 1229978 h 1894349"/>
                <a:gd name="connsiteX132" fmla="*/ 287348 w 1154995"/>
                <a:gd name="connsiteY132" fmla="*/ 1227919 h 1894349"/>
                <a:gd name="connsiteX133" fmla="*/ 253112 w 1154995"/>
                <a:gd name="connsiteY133" fmla="*/ 1444238 h 1894349"/>
                <a:gd name="connsiteX134" fmla="*/ 248689 w 1154995"/>
                <a:gd name="connsiteY134" fmla="*/ 1457476 h 1894349"/>
                <a:gd name="connsiteX135" fmla="*/ 283751 w 1154995"/>
                <a:gd name="connsiteY135" fmla="*/ 1802667 h 1894349"/>
                <a:gd name="connsiteX136" fmla="*/ 283751 w 1154995"/>
                <a:gd name="connsiteY136" fmla="*/ 1818611 h 1894349"/>
                <a:gd name="connsiteX137" fmla="*/ 279807 w 1154995"/>
                <a:gd name="connsiteY137" fmla="*/ 1835885 h 1894349"/>
                <a:gd name="connsiteX138" fmla="*/ 274548 w 1154995"/>
                <a:gd name="connsiteY138" fmla="*/ 1850501 h 1894349"/>
                <a:gd name="connsiteX139" fmla="*/ 265346 w 1154995"/>
                <a:gd name="connsiteY139" fmla="*/ 1865117 h 1894349"/>
                <a:gd name="connsiteX140" fmla="*/ 253514 w 1154995"/>
                <a:gd name="connsiteY140" fmla="*/ 1877076 h 1894349"/>
                <a:gd name="connsiteX141" fmla="*/ 240367 w 1154995"/>
                <a:gd name="connsiteY141" fmla="*/ 1885048 h 1894349"/>
                <a:gd name="connsiteX142" fmla="*/ 225906 w 1154995"/>
                <a:gd name="connsiteY142" fmla="*/ 1891692 h 1894349"/>
                <a:gd name="connsiteX143" fmla="*/ 210131 w 1154995"/>
                <a:gd name="connsiteY143" fmla="*/ 1894349 h 1894349"/>
                <a:gd name="connsiteX144" fmla="*/ 193040 w 1154995"/>
                <a:gd name="connsiteY144" fmla="*/ 1894349 h 1894349"/>
                <a:gd name="connsiteX145" fmla="*/ 177265 w 1154995"/>
                <a:gd name="connsiteY145" fmla="*/ 1891692 h 1894349"/>
                <a:gd name="connsiteX146" fmla="*/ 162803 w 1154995"/>
                <a:gd name="connsiteY146" fmla="*/ 1886377 h 1894349"/>
                <a:gd name="connsiteX147" fmla="*/ 149657 w 1154995"/>
                <a:gd name="connsiteY147" fmla="*/ 1877076 h 1894349"/>
                <a:gd name="connsiteX148" fmla="*/ 137825 w 1154995"/>
                <a:gd name="connsiteY148" fmla="*/ 1866446 h 1894349"/>
                <a:gd name="connsiteX149" fmla="*/ 127308 w 1154995"/>
                <a:gd name="connsiteY149" fmla="*/ 1851830 h 1894349"/>
                <a:gd name="connsiteX150" fmla="*/ 120735 w 1154995"/>
                <a:gd name="connsiteY150" fmla="*/ 1837214 h 1894349"/>
                <a:gd name="connsiteX151" fmla="*/ 118106 w 1154995"/>
                <a:gd name="connsiteY151" fmla="*/ 1819940 h 1894349"/>
                <a:gd name="connsiteX152" fmla="*/ 83925 w 1154995"/>
                <a:gd name="connsiteY152" fmla="*/ 1471812 h 1894349"/>
                <a:gd name="connsiteX153" fmla="*/ 83925 w 1154995"/>
                <a:gd name="connsiteY153" fmla="*/ 1454538 h 1894349"/>
                <a:gd name="connsiteX154" fmla="*/ 85940 w 1154995"/>
                <a:gd name="connsiteY154" fmla="*/ 1442318 h 1894349"/>
                <a:gd name="connsiteX155" fmla="*/ 83925 w 1154995"/>
                <a:gd name="connsiteY155" fmla="*/ 1433606 h 1894349"/>
                <a:gd name="connsiteX156" fmla="*/ 85257 w 1154995"/>
                <a:gd name="connsiteY156" fmla="*/ 1417657 h 1894349"/>
                <a:gd name="connsiteX157" fmla="*/ 150534 w 1154995"/>
                <a:gd name="connsiteY157" fmla="*/ 1013619 h 1894349"/>
                <a:gd name="connsiteX158" fmla="*/ 152564 w 1154995"/>
                <a:gd name="connsiteY158" fmla="*/ 1007543 h 1894349"/>
                <a:gd name="connsiteX159" fmla="*/ 208946 w 1154995"/>
                <a:gd name="connsiteY159" fmla="*/ 656135 h 1894349"/>
                <a:gd name="connsiteX160" fmla="*/ 42587 w 1154995"/>
                <a:gd name="connsiteY160" fmla="*/ 421974 h 1894349"/>
                <a:gd name="connsiteX161" fmla="*/ 37279 w 1154995"/>
                <a:gd name="connsiteY161" fmla="*/ 411351 h 1894349"/>
                <a:gd name="connsiteX162" fmla="*/ 35131 w 1154995"/>
                <a:gd name="connsiteY162" fmla="*/ 405977 h 1894349"/>
                <a:gd name="connsiteX163" fmla="*/ 34636 w 1154995"/>
                <a:gd name="connsiteY163" fmla="*/ 405189 h 1894349"/>
                <a:gd name="connsiteX164" fmla="*/ 29308 w 1154995"/>
                <a:gd name="connsiteY164" fmla="*/ 393272 h 1894349"/>
                <a:gd name="connsiteX165" fmla="*/ 26643 w 1154995"/>
                <a:gd name="connsiteY165" fmla="*/ 380030 h 1894349"/>
                <a:gd name="connsiteX166" fmla="*/ 0 w 1154995"/>
                <a:gd name="connsiteY166" fmla="*/ 71504 h 1894349"/>
                <a:gd name="connsiteX167" fmla="*/ 0 w 1154995"/>
                <a:gd name="connsiteY167" fmla="*/ 58262 h 1894349"/>
                <a:gd name="connsiteX168" fmla="*/ 2664 w 1154995"/>
                <a:gd name="connsiteY168" fmla="*/ 45021 h 1894349"/>
                <a:gd name="connsiteX169" fmla="*/ 7993 w 1154995"/>
                <a:gd name="connsiteY169" fmla="*/ 33104 h 1894349"/>
                <a:gd name="connsiteX170" fmla="*/ 14654 w 1154995"/>
                <a:gd name="connsiteY170" fmla="*/ 23835 h 1894349"/>
                <a:gd name="connsiteX171" fmla="*/ 22647 w 1154995"/>
                <a:gd name="connsiteY171" fmla="*/ 14565 h 1894349"/>
                <a:gd name="connsiteX172" fmla="*/ 34636 w 1154995"/>
                <a:gd name="connsiteY172" fmla="*/ 7945 h 1894349"/>
                <a:gd name="connsiteX173" fmla="*/ 46626 w 1154995"/>
                <a:gd name="connsiteY173" fmla="*/ 3972 h 1894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</a:cxnLst>
              <a:rect l="l" t="t" r="r" b="b"/>
              <a:pathLst>
                <a:path w="1154995" h="1894349">
                  <a:moveTo>
                    <a:pt x="429660" y="227803"/>
                  </a:moveTo>
                  <a:lnTo>
                    <a:pt x="445579" y="227803"/>
                  </a:lnTo>
                  <a:lnTo>
                    <a:pt x="462824" y="229130"/>
                  </a:lnTo>
                  <a:lnTo>
                    <a:pt x="477417" y="231783"/>
                  </a:lnTo>
                  <a:lnTo>
                    <a:pt x="492009" y="235763"/>
                  </a:lnTo>
                  <a:lnTo>
                    <a:pt x="506601" y="242395"/>
                  </a:lnTo>
                  <a:lnTo>
                    <a:pt x="519867" y="249028"/>
                  </a:lnTo>
                  <a:lnTo>
                    <a:pt x="531806" y="258314"/>
                  </a:lnTo>
                  <a:lnTo>
                    <a:pt x="545072" y="266274"/>
                  </a:lnTo>
                  <a:lnTo>
                    <a:pt x="554358" y="278213"/>
                  </a:lnTo>
                  <a:lnTo>
                    <a:pt x="564971" y="290152"/>
                  </a:lnTo>
                  <a:lnTo>
                    <a:pt x="572930" y="303418"/>
                  </a:lnTo>
                  <a:lnTo>
                    <a:pt x="580890" y="316683"/>
                  </a:lnTo>
                  <a:lnTo>
                    <a:pt x="586196" y="331276"/>
                  </a:lnTo>
                  <a:lnTo>
                    <a:pt x="591502" y="345868"/>
                  </a:lnTo>
                  <a:lnTo>
                    <a:pt x="594156" y="360460"/>
                  </a:lnTo>
                  <a:lnTo>
                    <a:pt x="595482" y="377706"/>
                  </a:lnTo>
                  <a:lnTo>
                    <a:pt x="595482" y="393625"/>
                  </a:lnTo>
                  <a:lnTo>
                    <a:pt x="594156" y="408217"/>
                  </a:lnTo>
                  <a:lnTo>
                    <a:pt x="591502" y="425462"/>
                  </a:lnTo>
                  <a:lnTo>
                    <a:pt x="587523" y="440055"/>
                  </a:lnTo>
                  <a:lnTo>
                    <a:pt x="580890" y="453320"/>
                  </a:lnTo>
                  <a:lnTo>
                    <a:pt x="574257" y="467913"/>
                  </a:lnTo>
                  <a:lnTo>
                    <a:pt x="564971" y="479852"/>
                  </a:lnTo>
                  <a:lnTo>
                    <a:pt x="554358" y="491791"/>
                  </a:lnTo>
                  <a:lnTo>
                    <a:pt x="545072" y="502403"/>
                  </a:lnTo>
                  <a:lnTo>
                    <a:pt x="533133" y="513016"/>
                  </a:lnTo>
                  <a:lnTo>
                    <a:pt x="519867" y="520975"/>
                  </a:lnTo>
                  <a:lnTo>
                    <a:pt x="506601" y="527608"/>
                  </a:lnTo>
                  <a:lnTo>
                    <a:pt x="492009" y="534241"/>
                  </a:lnTo>
                  <a:lnTo>
                    <a:pt x="477417" y="539547"/>
                  </a:lnTo>
                  <a:lnTo>
                    <a:pt x="462824" y="542201"/>
                  </a:lnTo>
                  <a:lnTo>
                    <a:pt x="445579" y="543527"/>
                  </a:lnTo>
                  <a:lnTo>
                    <a:pt x="429660" y="543527"/>
                  </a:lnTo>
                  <a:lnTo>
                    <a:pt x="412414" y="542201"/>
                  </a:lnTo>
                  <a:lnTo>
                    <a:pt x="397822" y="539547"/>
                  </a:lnTo>
                  <a:lnTo>
                    <a:pt x="383229" y="534241"/>
                  </a:lnTo>
                  <a:lnTo>
                    <a:pt x="369964" y="528935"/>
                  </a:lnTo>
                  <a:lnTo>
                    <a:pt x="355371" y="520975"/>
                  </a:lnTo>
                  <a:lnTo>
                    <a:pt x="343432" y="513016"/>
                  </a:lnTo>
                  <a:lnTo>
                    <a:pt x="331493" y="502403"/>
                  </a:lnTo>
                  <a:lnTo>
                    <a:pt x="320880" y="493117"/>
                  </a:lnTo>
                  <a:lnTo>
                    <a:pt x="310268" y="481178"/>
                  </a:lnTo>
                  <a:lnTo>
                    <a:pt x="302308" y="467913"/>
                  </a:lnTo>
                  <a:lnTo>
                    <a:pt x="294349" y="454647"/>
                  </a:lnTo>
                  <a:lnTo>
                    <a:pt x="289042" y="440055"/>
                  </a:lnTo>
                  <a:lnTo>
                    <a:pt x="283736" y="425462"/>
                  </a:lnTo>
                  <a:lnTo>
                    <a:pt x="281083" y="408217"/>
                  </a:lnTo>
                  <a:lnTo>
                    <a:pt x="279756" y="393625"/>
                  </a:lnTo>
                  <a:lnTo>
                    <a:pt x="279756" y="377706"/>
                  </a:lnTo>
                  <a:lnTo>
                    <a:pt x="281083" y="360460"/>
                  </a:lnTo>
                  <a:lnTo>
                    <a:pt x="283736" y="345868"/>
                  </a:lnTo>
                  <a:lnTo>
                    <a:pt x="289042" y="331276"/>
                  </a:lnTo>
                  <a:lnTo>
                    <a:pt x="294349" y="316683"/>
                  </a:lnTo>
                  <a:lnTo>
                    <a:pt x="302308" y="303418"/>
                  </a:lnTo>
                  <a:lnTo>
                    <a:pt x="310268" y="290152"/>
                  </a:lnTo>
                  <a:lnTo>
                    <a:pt x="320880" y="278213"/>
                  </a:lnTo>
                  <a:lnTo>
                    <a:pt x="330166" y="268927"/>
                  </a:lnTo>
                  <a:lnTo>
                    <a:pt x="342106" y="258314"/>
                  </a:lnTo>
                  <a:lnTo>
                    <a:pt x="355371" y="250355"/>
                  </a:lnTo>
                  <a:lnTo>
                    <a:pt x="368637" y="242395"/>
                  </a:lnTo>
                  <a:lnTo>
                    <a:pt x="383229" y="235763"/>
                  </a:lnTo>
                  <a:lnTo>
                    <a:pt x="397822" y="231783"/>
                  </a:lnTo>
                  <a:lnTo>
                    <a:pt x="412414" y="229130"/>
                  </a:lnTo>
                  <a:close/>
                  <a:moveTo>
                    <a:pt x="59948" y="0"/>
                  </a:moveTo>
                  <a:lnTo>
                    <a:pt x="70605" y="0"/>
                  </a:lnTo>
                  <a:lnTo>
                    <a:pt x="83927" y="3972"/>
                  </a:lnTo>
                  <a:lnTo>
                    <a:pt x="95917" y="7945"/>
                  </a:lnTo>
                  <a:lnTo>
                    <a:pt x="106574" y="14565"/>
                  </a:lnTo>
                  <a:lnTo>
                    <a:pt x="114567" y="25159"/>
                  </a:lnTo>
                  <a:lnTo>
                    <a:pt x="122560" y="34428"/>
                  </a:lnTo>
                  <a:lnTo>
                    <a:pt x="125225" y="46345"/>
                  </a:lnTo>
                  <a:lnTo>
                    <a:pt x="129221" y="59587"/>
                  </a:lnTo>
                  <a:lnTo>
                    <a:pt x="154785" y="356876"/>
                  </a:lnTo>
                  <a:lnTo>
                    <a:pt x="302473" y="563802"/>
                  </a:lnTo>
                  <a:lnTo>
                    <a:pt x="317056" y="564846"/>
                  </a:lnTo>
                  <a:lnTo>
                    <a:pt x="456935" y="590207"/>
                  </a:lnTo>
                  <a:lnTo>
                    <a:pt x="472921" y="595546"/>
                  </a:lnTo>
                  <a:lnTo>
                    <a:pt x="488907" y="603555"/>
                  </a:lnTo>
                  <a:lnTo>
                    <a:pt x="490977" y="605422"/>
                  </a:lnTo>
                  <a:lnTo>
                    <a:pt x="746856" y="732952"/>
                  </a:lnTo>
                  <a:lnTo>
                    <a:pt x="1087241" y="707385"/>
                  </a:lnTo>
                  <a:lnTo>
                    <a:pt x="1100526" y="708717"/>
                  </a:lnTo>
                  <a:lnTo>
                    <a:pt x="1112483" y="712714"/>
                  </a:lnTo>
                  <a:lnTo>
                    <a:pt x="1123111" y="718042"/>
                  </a:lnTo>
                  <a:lnTo>
                    <a:pt x="1132410" y="724703"/>
                  </a:lnTo>
                  <a:lnTo>
                    <a:pt x="1141710" y="734028"/>
                  </a:lnTo>
                  <a:lnTo>
                    <a:pt x="1148353" y="744686"/>
                  </a:lnTo>
                  <a:lnTo>
                    <a:pt x="1152338" y="758007"/>
                  </a:lnTo>
                  <a:lnTo>
                    <a:pt x="1154995" y="769997"/>
                  </a:lnTo>
                  <a:lnTo>
                    <a:pt x="1154995" y="781986"/>
                  </a:lnTo>
                  <a:lnTo>
                    <a:pt x="1151010" y="795308"/>
                  </a:lnTo>
                  <a:lnTo>
                    <a:pt x="1145696" y="807297"/>
                  </a:lnTo>
                  <a:lnTo>
                    <a:pt x="1137725" y="816622"/>
                  </a:lnTo>
                  <a:lnTo>
                    <a:pt x="1129753" y="825948"/>
                  </a:lnTo>
                  <a:lnTo>
                    <a:pt x="1117797" y="832608"/>
                  </a:lnTo>
                  <a:lnTo>
                    <a:pt x="1105840" y="835273"/>
                  </a:lnTo>
                  <a:lnTo>
                    <a:pt x="1093883" y="837937"/>
                  </a:lnTo>
                  <a:lnTo>
                    <a:pt x="739170" y="863248"/>
                  </a:lnTo>
                  <a:lnTo>
                    <a:pt x="727213" y="863248"/>
                  </a:lnTo>
                  <a:lnTo>
                    <a:pt x="713928" y="860584"/>
                  </a:lnTo>
                  <a:lnTo>
                    <a:pt x="703300" y="855255"/>
                  </a:lnTo>
                  <a:lnTo>
                    <a:pt x="702765" y="854796"/>
                  </a:lnTo>
                  <a:lnTo>
                    <a:pt x="697340" y="852622"/>
                  </a:lnTo>
                  <a:lnTo>
                    <a:pt x="516986" y="762306"/>
                  </a:lnTo>
                  <a:lnTo>
                    <a:pt x="447956" y="1141641"/>
                  </a:lnTo>
                  <a:lnTo>
                    <a:pt x="516334" y="1392722"/>
                  </a:lnTo>
                  <a:lnTo>
                    <a:pt x="525481" y="1404112"/>
                  </a:lnTo>
                  <a:lnTo>
                    <a:pt x="703342" y="1706515"/>
                  </a:lnTo>
                  <a:lnTo>
                    <a:pt x="710028" y="1723833"/>
                  </a:lnTo>
                  <a:lnTo>
                    <a:pt x="712703" y="1738487"/>
                  </a:lnTo>
                  <a:lnTo>
                    <a:pt x="715377" y="1754473"/>
                  </a:lnTo>
                  <a:lnTo>
                    <a:pt x="711365" y="1771791"/>
                  </a:lnTo>
                  <a:lnTo>
                    <a:pt x="706016" y="1786445"/>
                  </a:lnTo>
                  <a:lnTo>
                    <a:pt x="697992" y="1801099"/>
                  </a:lnTo>
                  <a:lnTo>
                    <a:pt x="685957" y="1813088"/>
                  </a:lnTo>
                  <a:lnTo>
                    <a:pt x="672584" y="1822414"/>
                  </a:lnTo>
                  <a:lnTo>
                    <a:pt x="656536" y="1831739"/>
                  </a:lnTo>
                  <a:lnTo>
                    <a:pt x="641826" y="1834403"/>
                  </a:lnTo>
                  <a:lnTo>
                    <a:pt x="624441" y="1834403"/>
                  </a:lnTo>
                  <a:lnTo>
                    <a:pt x="608393" y="1833071"/>
                  </a:lnTo>
                  <a:lnTo>
                    <a:pt x="593683" y="1826410"/>
                  </a:lnTo>
                  <a:lnTo>
                    <a:pt x="578973" y="1818417"/>
                  </a:lnTo>
                  <a:lnTo>
                    <a:pt x="566937" y="1807760"/>
                  </a:lnTo>
                  <a:lnTo>
                    <a:pt x="556239" y="1793106"/>
                  </a:lnTo>
                  <a:lnTo>
                    <a:pt x="378378" y="1489371"/>
                  </a:lnTo>
                  <a:lnTo>
                    <a:pt x="371691" y="1474717"/>
                  </a:lnTo>
                  <a:lnTo>
                    <a:pt x="371044" y="1470849"/>
                  </a:lnTo>
                  <a:lnTo>
                    <a:pt x="369735" y="1469387"/>
                  </a:lnTo>
                  <a:lnTo>
                    <a:pt x="361780" y="1456065"/>
                  </a:lnTo>
                  <a:lnTo>
                    <a:pt x="355151" y="1440079"/>
                  </a:lnTo>
                  <a:lnTo>
                    <a:pt x="297934" y="1229978"/>
                  </a:lnTo>
                  <a:lnTo>
                    <a:pt x="287348" y="1227919"/>
                  </a:lnTo>
                  <a:lnTo>
                    <a:pt x="253112" y="1444238"/>
                  </a:lnTo>
                  <a:lnTo>
                    <a:pt x="248689" y="1457476"/>
                  </a:lnTo>
                  <a:lnTo>
                    <a:pt x="283751" y="1802667"/>
                  </a:lnTo>
                  <a:lnTo>
                    <a:pt x="283751" y="1818611"/>
                  </a:lnTo>
                  <a:lnTo>
                    <a:pt x="279807" y="1835885"/>
                  </a:lnTo>
                  <a:lnTo>
                    <a:pt x="274548" y="1850501"/>
                  </a:lnTo>
                  <a:lnTo>
                    <a:pt x="265346" y="1865117"/>
                  </a:lnTo>
                  <a:lnTo>
                    <a:pt x="253514" y="1877076"/>
                  </a:lnTo>
                  <a:lnTo>
                    <a:pt x="240367" y="1885048"/>
                  </a:lnTo>
                  <a:lnTo>
                    <a:pt x="225906" y="1891692"/>
                  </a:lnTo>
                  <a:lnTo>
                    <a:pt x="210131" y="1894349"/>
                  </a:lnTo>
                  <a:lnTo>
                    <a:pt x="193040" y="1894349"/>
                  </a:lnTo>
                  <a:lnTo>
                    <a:pt x="177265" y="1891692"/>
                  </a:lnTo>
                  <a:lnTo>
                    <a:pt x="162803" y="1886377"/>
                  </a:lnTo>
                  <a:lnTo>
                    <a:pt x="149657" y="1877076"/>
                  </a:lnTo>
                  <a:lnTo>
                    <a:pt x="137825" y="1866446"/>
                  </a:lnTo>
                  <a:lnTo>
                    <a:pt x="127308" y="1851830"/>
                  </a:lnTo>
                  <a:lnTo>
                    <a:pt x="120735" y="1837214"/>
                  </a:lnTo>
                  <a:lnTo>
                    <a:pt x="118106" y="1819940"/>
                  </a:lnTo>
                  <a:lnTo>
                    <a:pt x="83925" y="1471812"/>
                  </a:lnTo>
                  <a:lnTo>
                    <a:pt x="83925" y="1454538"/>
                  </a:lnTo>
                  <a:lnTo>
                    <a:pt x="85940" y="1442318"/>
                  </a:lnTo>
                  <a:lnTo>
                    <a:pt x="83925" y="1433606"/>
                  </a:lnTo>
                  <a:lnTo>
                    <a:pt x="85257" y="1417657"/>
                  </a:lnTo>
                  <a:lnTo>
                    <a:pt x="150534" y="1013619"/>
                  </a:lnTo>
                  <a:lnTo>
                    <a:pt x="152564" y="1007543"/>
                  </a:lnTo>
                  <a:lnTo>
                    <a:pt x="208946" y="656135"/>
                  </a:lnTo>
                  <a:lnTo>
                    <a:pt x="42587" y="421974"/>
                  </a:lnTo>
                  <a:lnTo>
                    <a:pt x="37279" y="411351"/>
                  </a:lnTo>
                  <a:lnTo>
                    <a:pt x="35131" y="405977"/>
                  </a:lnTo>
                  <a:lnTo>
                    <a:pt x="34636" y="405189"/>
                  </a:lnTo>
                  <a:lnTo>
                    <a:pt x="29308" y="393272"/>
                  </a:lnTo>
                  <a:lnTo>
                    <a:pt x="26643" y="380030"/>
                  </a:lnTo>
                  <a:lnTo>
                    <a:pt x="0" y="71504"/>
                  </a:lnTo>
                  <a:lnTo>
                    <a:pt x="0" y="58262"/>
                  </a:lnTo>
                  <a:lnTo>
                    <a:pt x="2664" y="45021"/>
                  </a:lnTo>
                  <a:lnTo>
                    <a:pt x="7993" y="33104"/>
                  </a:lnTo>
                  <a:lnTo>
                    <a:pt x="14654" y="23835"/>
                  </a:lnTo>
                  <a:lnTo>
                    <a:pt x="22647" y="14565"/>
                  </a:lnTo>
                  <a:lnTo>
                    <a:pt x="34636" y="7945"/>
                  </a:lnTo>
                  <a:lnTo>
                    <a:pt x="46626" y="397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110" name="Freeform 109"/>
            <p:cNvSpPr>
              <a:spLocks/>
            </p:cNvSpPr>
            <p:nvPr/>
          </p:nvSpPr>
          <p:spPr bwMode="auto">
            <a:xfrm>
              <a:off x="5122851" y="4268169"/>
              <a:ext cx="1003127" cy="1282883"/>
            </a:xfrm>
            <a:custGeom>
              <a:avLst/>
              <a:gdLst>
                <a:gd name="connsiteX0" fmla="*/ 405579 w 1003127"/>
                <a:gd name="connsiteY0" fmla="*/ 319721 h 1282883"/>
                <a:gd name="connsiteX1" fmla="*/ 421625 w 1003127"/>
                <a:gd name="connsiteY1" fmla="*/ 322391 h 1282883"/>
                <a:gd name="connsiteX2" fmla="*/ 439009 w 1003127"/>
                <a:gd name="connsiteY2" fmla="*/ 325061 h 1282883"/>
                <a:gd name="connsiteX3" fmla="*/ 452382 w 1003127"/>
                <a:gd name="connsiteY3" fmla="*/ 330401 h 1282883"/>
                <a:gd name="connsiteX4" fmla="*/ 463080 w 1003127"/>
                <a:gd name="connsiteY4" fmla="*/ 338411 h 1282883"/>
                <a:gd name="connsiteX5" fmla="*/ 475115 w 1003127"/>
                <a:gd name="connsiteY5" fmla="*/ 349090 h 1282883"/>
                <a:gd name="connsiteX6" fmla="*/ 482552 w 1003127"/>
                <a:gd name="connsiteY6" fmla="*/ 358990 h 1282883"/>
                <a:gd name="connsiteX7" fmla="*/ 655428 w 1003127"/>
                <a:gd name="connsiteY7" fmla="*/ 511815 h 1282883"/>
                <a:gd name="connsiteX8" fmla="*/ 655297 w 1003127"/>
                <a:gd name="connsiteY8" fmla="*/ 512144 h 1282883"/>
                <a:gd name="connsiteX9" fmla="*/ 663422 w 1003127"/>
                <a:gd name="connsiteY9" fmla="*/ 512877 h 1282883"/>
                <a:gd name="connsiteX10" fmla="*/ 952504 w 1003127"/>
                <a:gd name="connsiteY10" fmla="*/ 580359 h 1282883"/>
                <a:gd name="connsiteX11" fmla="*/ 965826 w 1003127"/>
                <a:gd name="connsiteY11" fmla="*/ 583005 h 1282883"/>
                <a:gd name="connsiteX12" fmla="*/ 975152 w 1003127"/>
                <a:gd name="connsiteY12" fmla="*/ 589621 h 1282883"/>
                <a:gd name="connsiteX13" fmla="*/ 985809 w 1003127"/>
                <a:gd name="connsiteY13" fmla="*/ 597560 h 1282883"/>
                <a:gd name="connsiteX14" fmla="*/ 993802 w 1003127"/>
                <a:gd name="connsiteY14" fmla="*/ 608145 h 1282883"/>
                <a:gd name="connsiteX15" fmla="*/ 999131 w 1003127"/>
                <a:gd name="connsiteY15" fmla="*/ 620054 h 1282883"/>
                <a:gd name="connsiteX16" fmla="*/ 1001795 w 1003127"/>
                <a:gd name="connsiteY16" fmla="*/ 630639 h 1282883"/>
                <a:gd name="connsiteX17" fmla="*/ 1003127 w 1003127"/>
                <a:gd name="connsiteY17" fmla="*/ 643870 h 1282883"/>
                <a:gd name="connsiteX18" fmla="*/ 1001795 w 1003127"/>
                <a:gd name="connsiteY18" fmla="*/ 657102 h 1282883"/>
                <a:gd name="connsiteX19" fmla="*/ 996466 w 1003127"/>
                <a:gd name="connsiteY19" fmla="*/ 669011 h 1282883"/>
                <a:gd name="connsiteX20" fmla="*/ 989805 w 1003127"/>
                <a:gd name="connsiteY20" fmla="*/ 680919 h 1282883"/>
                <a:gd name="connsiteX21" fmla="*/ 981812 w 1003127"/>
                <a:gd name="connsiteY21" fmla="*/ 690181 h 1282883"/>
                <a:gd name="connsiteX22" fmla="*/ 972487 w 1003127"/>
                <a:gd name="connsiteY22" fmla="*/ 696797 h 1282883"/>
                <a:gd name="connsiteX23" fmla="*/ 961830 w 1003127"/>
                <a:gd name="connsiteY23" fmla="*/ 703413 h 1282883"/>
                <a:gd name="connsiteX24" fmla="*/ 948508 w 1003127"/>
                <a:gd name="connsiteY24" fmla="*/ 707382 h 1282883"/>
                <a:gd name="connsiteX25" fmla="*/ 937851 w 1003127"/>
                <a:gd name="connsiteY25" fmla="*/ 707382 h 1282883"/>
                <a:gd name="connsiteX26" fmla="*/ 924529 w 1003127"/>
                <a:gd name="connsiteY26" fmla="*/ 704736 h 1282883"/>
                <a:gd name="connsiteX27" fmla="*/ 638111 w 1003127"/>
                <a:gd name="connsiteY27" fmla="*/ 649163 h 1282883"/>
                <a:gd name="connsiteX28" fmla="*/ 624789 w 1003127"/>
                <a:gd name="connsiteY28" fmla="*/ 646517 h 1282883"/>
                <a:gd name="connsiteX29" fmla="*/ 611467 w 1003127"/>
                <a:gd name="connsiteY29" fmla="*/ 637255 h 1282883"/>
                <a:gd name="connsiteX30" fmla="*/ 606676 w 1003127"/>
                <a:gd name="connsiteY30" fmla="*/ 633553 h 1282883"/>
                <a:gd name="connsiteX31" fmla="*/ 605918 w 1003127"/>
                <a:gd name="connsiteY31" fmla="*/ 635445 h 1282883"/>
                <a:gd name="connsiteX32" fmla="*/ 539333 w 1003127"/>
                <a:gd name="connsiteY32" fmla="*/ 578412 h 1282883"/>
                <a:gd name="connsiteX33" fmla="*/ 585879 w 1003127"/>
                <a:gd name="connsiteY33" fmla="*/ 776504 h 1282883"/>
                <a:gd name="connsiteX34" fmla="*/ 768924 w 1003127"/>
                <a:gd name="connsiteY34" fmla="*/ 746738 h 1282883"/>
                <a:gd name="connsiteX35" fmla="*/ 769996 w 1003127"/>
                <a:gd name="connsiteY35" fmla="*/ 746052 h 1282883"/>
                <a:gd name="connsiteX36" fmla="*/ 784650 w 1003127"/>
                <a:gd name="connsiteY36" fmla="*/ 742035 h 1282883"/>
                <a:gd name="connsiteX37" fmla="*/ 803301 w 1003127"/>
                <a:gd name="connsiteY37" fmla="*/ 739357 h 1282883"/>
                <a:gd name="connsiteX38" fmla="*/ 820619 w 1003127"/>
                <a:gd name="connsiteY38" fmla="*/ 742035 h 1282883"/>
                <a:gd name="connsiteX39" fmla="*/ 835273 w 1003127"/>
                <a:gd name="connsiteY39" fmla="*/ 746052 h 1282883"/>
                <a:gd name="connsiteX40" fmla="*/ 849927 w 1003127"/>
                <a:gd name="connsiteY40" fmla="*/ 755425 h 1282883"/>
                <a:gd name="connsiteX41" fmla="*/ 863249 w 1003127"/>
                <a:gd name="connsiteY41" fmla="*/ 764798 h 1282883"/>
                <a:gd name="connsiteX42" fmla="*/ 872575 w 1003127"/>
                <a:gd name="connsiteY42" fmla="*/ 778188 h 1282883"/>
                <a:gd name="connsiteX43" fmla="*/ 881900 w 1003127"/>
                <a:gd name="connsiteY43" fmla="*/ 791578 h 1282883"/>
                <a:gd name="connsiteX44" fmla="*/ 885896 w 1003127"/>
                <a:gd name="connsiteY44" fmla="*/ 807645 h 1282883"/>
                <a:gd name="connsiteX45" fmla="*/ 888561 w 1003127"/>
                <a:gd name="connsiteY45" fmla="*/ 825052 h 1282883"/>
                <a:gd name="connsiteX46" fmla="*/ 891225 w 1003127"/>
                <a:gd name="connsiteY46" fmla="*/ 1178543 h 1282883"/>
                <a:gd name="connsiteX47" fmla="*/ 889893 w 1003127"/>
                <a:gd name="connsiteY47" fmla="*/ 1194611 h 1282883"/>
                <a:gd name="connsiteX48" fmla="*/ 884564 w 1003127"/>
                <a:gd name="connsiteY48" fmla="*/ 1210679 h 1282883"/>
                <a:gd name="connsiteX49" fmla="*/ 876571 w 1003127"/>
                <a:gd name="connsiteY49" fmla="*/ 1226747 h 1282883"/>
                <a:gd name="connsiteX50" fmla="*/ 865914 w 1003127"/>
                <a:gd name="connsiteY50" fmla="*/ 1237459 h 1282883"/>
                <a:gd name="connsiteX51" fmla="*/ 855256 w 1003127"/>
                <a:gd name="connsiteY51" fmla="*/ 1248170 h 1282883"/>
                <a:gd name="connsiteX52" fmla="*/ 839270 w 1003127"/>
                <a:gd name="connsiteY52" fmla="*/ 1256204 h 1282883"/>
                <a:gd name="connsiteX53" fmla="*/ 823284 w 1003127"/>
                <a:gd name="connsiteY53" fmla="*/ 1261560 h 1282883"/>
                <a:gd name="connsiteX54" fmla="*/ 807298 w 1003127"/>
                <a:gd name="connsiteY54" fmla="*/ 1262899 h 1282883"/>
                <a:gd name="connsiteX55" fmla="*/ 789979 w 1003127"/>
                <a:gd name="connsiteY55" fmla="*/ 1261560 h 1282883"/>
                <a:gd name="connsiteX56" fmla="*/ 773993 w 1003127"/>
                <a:gd name="connsiteY56" fmla="*/ 1256204 h 1282883"/>
                <a:gd name="connsiteX57" fmla="*/ 760671 w 1003127"/>
                <a:gd name="connsiteY57" fmla="*/ 1249509 h 1282883"/>
                <a:gd name="connsiteX58" fmla="*/ 747349 w 1003127"/>
                <a:gd name="connsiteY58" fmla="*/ 1237459 h 1282883"/>
                <a:gd name="connsiteX59" fmla="*/ 736692 w 1003127"/>
                <a:gd name="connsiteY59" fmla="*/ 1226747 h 1282883"/>
                <a:gd name="connsiteX60" fmla="*/ 728699 w 1003127"/>
                <a:gd name="connsiteY60" fmla="*/ 1210679 h 1282883"/>
                <a:gd name="connsiteX61" fmla="*/ 723370 w 1003127"/>
                <a:gd name="connsiteY61" fmla="*/ 1195950 h 1282883"/>
                <a:gd name="connsiteX62" fmla="*/ 722038 w 1003127"/>
                <a:gd name="connsiteY62" fmla="*/ 1178543 h 1282883"/>
                <a:gd name="connsiteX63" fmla="*/ 720139 w 1003127"/>
                <a:gd name="connsiteY63" fmla="*/ 926610 h 1282883"/>
                <a:gd name="connsiteX64" fmla="*/ 504485 w 1003127"/>
                <a:gd name="connsiteY64" fmla="*/ 962424 h 1282883"/>
                <a:gd name="connsiteX65" fmla="*/ 515552 w 1003127"/>
                <a:gd name="connsiteY65" fmla="*/ 1132139 h 1282883"/>
                <a:gd name="connsiteX66" fmla="*/ 514925 w 1003127"/>
                <a:gd name="connsiteY66" fmla="*/ 1140309 h 1282883"/>
                <a:gd name="connsiteX67" fmla="*/ 515552 w 1003127"/>
                <a:gd name="connsiteY67" fmla="*/ 1147806 h 1282883"/>
                <a:gd name="connsiteX68" fmla="*/ 512895 w 1003127"/>
                <a:gd name="connsiteY68" fmla="*/ 1165021 h 1282883"/>
                <a:gd name="connsiteX69" fmla="*/ 507580 w 1003127"/>
                <a:gd name="connsiteY69" fmla="*/ 1179589 h 1282883"/>
                <a:gd name="connsiteX70" fmla="*/ 499607 w 1003127"/>
                <a:gd name="connsiteY70" fmla="*/ 1192832 h 1282883"/>
                <a:gd name="connsiteX71" fmla="*/ 487649 w 1003127"/>
                <a:gd name="connsiteY71" fmla="*/ 1206074 h 1282883"/>
                <a:gd name="connsiteX72" fmla="*/ 474361 w 1003127"/>
                <a:gd name="connsiteY72" fmla="*/ 1215344 h 1282883"/>
                <a:gd name="connsiteX73" fmla="*/ 459745 w 1003127"/>
                <a:gd name="connsiteY73" fmla="*/ 1221966 h 1282883"/>
                <a:gd name="connsiteX74" fmla="*/ 442471 w 1003127"/>
                <a:gd name="connsiteY74" fmla="*/ 1227263 h 1282883"/>
                <a:gd name="connsiteX75" fmla="*/ 96998 w 1003127"/>
                <a:gd name="connsiteY75" fmla="*/ 1282883 h 1282883"/>
                <a:gd name="connsiteX76" fmla="*/ 81053 w 1003127"/>
                <a:gd name="connsiteY76" fmla="*/ 1282883 h 1282883"/>
                <a:gd name="connsiteX77" fmla="*/ 65108 w 1003127"/>
                <a:gd name="connsiteY77" fmla="*/ 1281559 h 1282883"/>
                <a:gd name="connsiteX78" fmla="*/ 49163 w 1003127"/>
                <a:gd name="connsiteY78" fmla="*/ 1274938 h 1282883"/>
                <a:gd name="connsiteX79" fmla="*/ 34547 w 1003127"/>
                <a:gd name="connsiteY79" fmla="*/ 1266992 h 1282883"/>
                <a:gd name="connsiteX80" fmla="*/ 22588 w 1003127"/>
                <a:gd name="connsiteY80" fmla="*/ 1256397 h 1282883"/>
                <a:gd name="connsiteX81" fmla="*/ 13287 w 1003127"/>
                <a:gd name="connsiteY81" fmla="*/ 1243155 h 1282883"/>
                <a:gd name="connsiteX82" fmla="*/ 6643 w 1003127"/>
                <a:gd name="connsiteY82" fmla="*/ 1228587 h 1282883"/>
                <a:gd name="connsiteX83" fmla="*/ 1328 w 1003127"/>
                <a:gd name="connsiteY83" fmla="*/ 1212696 h 1282883"/>
                <a:gd name="connsiteX84" fmla="*/ 0 w 1003127"/>
                <a:gd name="connsiteY84" fmla="*/ 1195480 h 1282883"/>
                <a:gd name="connsiteX85" fmla="*/ 3986 w 1003127"/>
                <a:gd name="connsiteY85" fmla="*/ 1179589 h 1282883"/>
                <a:gd name="connsiteX86" fmla="*/ 7972 w 1003127"/>
                <a:gd name="connsiteY86" fmla="*/ 1162373 h 1282883"/>
                <a:gd name="connsiteX87" fmla="*/ 17273 w 1003127"/>
                <a:gd name="connsiteY87" fmla="*/ 1149130 h 1282883"/>
                <a:gd name="connsiteX88" fmla="*/ 27903 w 1003127"/>
                <a:gd name="connsiteY88" fmla="*/ 1138536 h 1282883"/>
                <a:gd name="connsiteX89" fmla="*/ 41191 w 1003127"/>
                <a:gd name="connsiteY89" fmla="*/ 1127941 h 1282883"/>
                <a:gd name="connsiteX90" fmla="*/ 55807 w 1003127"/>
                <a:gd name="connsiteY90" fmla="*/ 1119996 h 1282883"/>
                <a:gd name="connsiteX91" fmla="*/ 73081 w 1003127"/>
                <a:gd name="connsiteY91" fmla="*/ 1117347 h 1282883"/>
                <a:gd name="connsiteX92" fmla="*/ 341830 w 1003127"/>
                <a:gd name="connsiteY92" fmla="*/ 1073049 h 1282883"/>
                <a:gd name="connsiteX93" fmla="*/ 330819 w 1003127"/>
                <a:gd name="connsiteY93" fmla="*/ 903638 h 1282883"/>
                <a:gd name="connsiteX94" fmla="*/ 330693 w 1003127"/>
                <a:gd name="connsiteY94" fmla="*/ 903096 h 1282883"/>
                <a:gd name="connsiteX95" fmla="*/ 249121 w 1003127"/>
                <a:gd name="connsiteY95" fmla="*/ 443872 h 1282883"/>
                <a:gd name="connsiteX96" fmla="*/ 247784 w 1003127"/>
                <a:gd name="connsiteY96" fmla="*/ 426518 h 1282883"/>
                <a:gd name="connsiteX97" fmla="*/ 247784 w 1003127"/>
                <a:gd name="connsiteY97" fmla="*/ 410498 h 1282883"/>
                <a:gd name="connsiteX98" fmla="*/ 251796 w 1003127"/>
                <a:gd name="connsiteY98" fmla="*/ 394479 h 1282883"/>
                <a:gd name="connsiteX99" fmla="*/ 261157 w 1003127"/>
                <a:gd name="connsiteY99" fmla="*/ 379794 h 1282883"/>
                <a:gd name="connsiteX100" fmla="*/ 270517 w 1003127"/>
                <a:gd name="connsiteY100" fmla="*/ 369115 h 1282883"/>
                <a:gd name="connsiteX101" fmla="*/ 282552 w 1003127"/>
                <a:gd name="connsiteY101" fmla="*/ 357100 h 1282883"/>
                <a:gd name="connsiteX102" fmla="*/ 297262 w 1003127"/>
                <a:gd name="connsiteY102" fmla="*/ 346420 h 1282883"/>
                <a:gd name="connsiteX103" fmla="*/ 311972 w 1003127"/>
                <a:gd name="connsiteY103" fmla="*/ 339746 h 1282883"/>
                <a:gd name="connsiteX104" fmla="*/ 337379 w 1003127"/>
                <a:gd name="connsiteY104" fmla="*/ 331736 h 1282883"/>
                <a:gd name="connsiteX105" fmla="*/ 360112 w 1003127"/>
                <a:gd name="connsiteY105" fmla="*/ 325061 h 1282883"/>
                <a:gd name="connsiteX106" fmla="*/ 381508 w 1003127"/>
                <a:gd name="connsiteY106" fmla="*/ 322391 h 1282883"/>
                <a:gd name="connsiteX107" fmla="*/ 398320 w 1003127"/>
                <a:gd name="connsiteY107" fmla="*/ 0 h 1282883"/>
                <a:gd name="connsiteX108" fmla="*/ 412974 w 1003127"/>
                <a:gd name="connsiteY108" fmla="*/ 1321 h 1282883"/>
                <a:gd name="connsiteX109" fmla="*/ 427628 w 1003127"/>
                <a:gd name="connsiteY109" fmla="*/ 3961 h 1282883"/>
                <a:gd name="connsiteX110" fmla="*/ 442282 w 1003127"/>
                <a:gd name="connsiteY110" fmla="*/ 6602 h 1282883"/>
                <a:gd name="connsiteX111" fmla="*/ 455604 w 1003127"/>
                <a:gd name="connsiteY111" fmla="*/ 11884 h 1282883"/>
                <a:gd name="connsiteX112" fmla="*/ 468926 w 1003127"/>
                <a:gd name="connsiteY112" fmla="*/ 18486 h 1282883"/>
                <a:gd name="connsiteX113" fmla="*/ 480915 w 1003127"/>
                <a:gd name="connsiteY113" fmla="*/ 26409 h 1282883"/>
                <a:gd name="connsiteX114" fmla="*/ 492905 w 1003127"/>
                <a:gd name="connsiteY114" fmla="*/ 34331 h 1282883"/>
                <a:gd name="connsiteX115" fmla="*/ 503562 w 1003127"/>
                <a:gd name="connsiteY115" fmla="*/ 44895 h 1282883"/>
                <a:gd name="connsiteX116" fmla="*/ 514220 w 1003127"/>
                <a:gd name="connsiteY116" fmla="*/ 54138 h 1282883"/>
                <a:gd name="connsiteX117" fmla="*/ 522213 w 1003127"/>
                <a:gd name="connsiteY117" fmla="*/ 66022 h 1282883"/>
                <a:gd name="connsiteX118" fmla="*/ 528874 w 1003127"/>
                <a:gd name="connsiteY118" fmla="*/ 79226 h 1282883"/>
                <a:gd name="connsiteX119" fmla="*/ 535535 w 1003127"/>
                <a:gd name="connsiteY119" fmla="*/ 92430 h 1282883"/>
                <a:gd name="connsiteX120" fmla="*/ 540863 w 1003127"/>
                <a:gd name="connsiteY120" fmla="*/ 105635 h 1282883"/>
                <a:gd name="connsiteX121" fmla="*/ 544860 w 1003127"/>
                <a:gd name="connsiteY121" fmla="*/ 120160 h 1282883"/>
                <a:gd name="connsiteX122" fmla="*/ 547524 w 1003127"/>
                <a:gd name="connsiteY122" fmla="*/ 134684 h 1282883"/>
                <a:gd name="connsiteX123" fmla="*/ 547524 w 1003127"/>
                <a:gd name="connsiteY123" fmla="*/ 149209 h 1282883"/>
                <a:gd name="connsiteX124" fmla="*/ 547524 w 1003127"/>
                <a:gd name="connsiteY124" fmla="*/ 165054 h 1282883"/>
                <a:gd name="connsiteX125" fmla="*/ 544860 w 1003127"/>
                <a:gd name="connsiteY125" fmla="*/ 179579 h 1282883"/>
                <a:gd name="connsiteX126" fmla="*/ 540863 w 1003127"/>
                <a:gd name="connsiteY126" fmla="*/ 194104 h 1282883"/>
                <a:gd name="connsiteX127" fmla="*/ 535535 w 1003127"/>
                <a:gd name="connsiteY127" fmla="*/ 208628 h 1282883"/>
                <a:gd name="connsiteX128" fmla="*/ 528874 w 1003127"/>
                <a:gd name="connsiteY128" fmla="*/ 220512 h 1282883"/>
                <a:gd name="connsiteX129" fmla="*/ 522213 w 1003127"/>
                <a:gd name="connsiteY129" fmla="*/ 233717 h 1282883"/>
                <a:gd name="connsiteX130" fmla="*/ 514220 w 1003127"/>
                <a:gd name="connsiteY130" fmla="*/ 245601 h 1282883"/>
                <a:gd name="connsiteX131" fmla="*/ 503562 w 1003127"/>
                <a:gd name="connsiteY131" fmla="*/ 254844 h 1282883"/>
                <a:gd name="connsiteX132" fmla="*/ 492905 w 1003127"/>
                <a:gd name="connsiteY132" fmla="*/ 264087 h 1282883"/>
                <a:gd name="connsiteX133" fmla="*/ 480915 w 1003127"/>
                <a:gd name="connsiteY133" fmla="*/ 274650 h 1282883"/>
                <a:gd name="connsiteX134" fmla="*/ 468926 w 1003127"/>
                <a:gd name="connsiteY134" fmla="*/ 281252 h 1282883"/>
                <a:gd name="connsiteX135" fmla="*/ 455604 w 1003127"/>
                <a:gd name="connsiteY135" fmla="*/ 287854 h 1282883"/>
                <a:gd name="connsiteX136" fmla="*/ 442282 w 1003127"/>
                <a:gd name="connsiteY136" fmla="*/ 293136 h 1282883"/>
                <a:gd name="connsiteX137" fmla="*/ 427628 w 1003127"/>
                <a:gd name="connsiteY137" fmla="*/ 295777 h 1282883"/>
                <a:gd name="connsiteX138" fmla="*/ 412974 w 1003127"/>
                <a:gd name="connsiteY138" fmla="*/ 299738 h 1282883"/>
                <a:gd name="connsiteX139" fmla="*/ 398320 w 1003127"/>
                <a:gd name="connsiteY139" fmla="*/ 299738 h 1282883"/>
                <a:gd name="connsiteX140" fmla="*/ 381002 w 1003127"/>
                <a:gd name="connsiteY140" fmla="*/ 299738 h 1282883"/>
                <a:gd name="connsiteX141" fmla="*/ 366348 w 1003127"/>
                <a:gd name="connsiteY141" fmla="*/ 295777 h 1282883"/>
                <a:gd name="connsiteX142" fmla="*/ 351694 w 1003127"/>
                <a:gd name="connsiteY142" fmla="*/ 293136 h 1282883"/>
                <a:gd name="connsiteX143" fmla="*/ 338372 w 1003127"/>
                <a:gd name="connsiteY143" fmla="*/ 287854 h 1282883"/>
                <a:gd name="connsiteX144" fmla="*/ 325051 w 1003127"/>
                <a:gd name="connsiteY144" fmla="*/ 281252 h 1282883"/>
                <a:gd name="connsiteX145" fmla="*/ 313061 w 1003127"/>
                <a:gd name="connsiteY145" fmla="*/ 274650 h 1282883"/>
                <a:gd name="connsiteX146" fmla="*/ 302404 w 1003127"/>
                <a:gd name="connsiteY146" fmla="*/ 264087 h 1282883"/>
                <a:gd name="connsiteX147" fmla="*/ 290414 w 1003127"/>
                <a:gd name="connsiteY147" fmla="*/ 254844 h 1282883"/>
                <a:gd name="connsiteX148" fmla="*/ 279757 w 1003127"/>
                <a:gd name="connsiteY148" fmla="*/ 245601 h 1282883"/>
                <a:gd name="connsiteX149" fmla="*/ 271763 w 1003127"/>
                <a:gd name="connsiteY149" fmla="*/ 233717 h 1282883"/>
                <a:gd name="connsiteX150" fmla="*/ 265103 w 1003127"/>
                <a:gd name="connsiteY150" fmla="*/ 220512 h 1282883"/>
                <a:gd name="connsiteX151" fmla="*/ 258442 w 1003127"/>
                <a:gd name="connsiteY151" fmla="*/ 208628 h 1282883"/>
                <a:gd name="connsiteX152" fmla="*/ 254445 w 1003127"/>
                <a:gd name="connsiteY152" fmla="*/ 194104 h 1282883"/>
                <a:gd name="connsiteX153" fmla="*/ 249116 w 1003127"/>
                <a:gd name="connsiteY153" fmla="*/ 179579 h 1282883"/>
                <a:gd name="connsiteX154" fmla="*/ 247784 w 1003127"/>
                <a:gd name="connsiteY154" fmla="*/ 165054 h 1282883"/>
                <a:gd name="connsiteX155" fmla="*/ 247784 w 1003127"/>
                <a:gd name="connsiteY155" fmla="*/ 149209 h 1282883"/>
                <a:gd name="connsiteX156" fmla="*/ 247784 w 1003127"/>
                <a:gd name="connsiteY156" fmla="*/ 134684 h 1282883"/>
                <a:gd name="connsiteX157" fmla="*/ 249116 w 1003127"/>
                <a:gd name="connsiteY157" fmla="*/ 120160 h 1282883"/>
                <a:gd name="connsiteX158" fmla="*/ 254445 w 1003127"/>
                <a:gd name="connsiteY158" fmla="*/ 105635 h 1282883"/>
                <a:gd name="connsiteX159" fmla="*/ 258442 w 1003127"/>
                <a:gd name="connsiteY159" fmla="*/ 92430 h 1282883"/>
                <a:gd name="connsiteX160" fmla="*/ 265103 w 1003127"/>
                <a:gd name="connsiteY160" fmla="*/ 79226 h 1282883"/>
                <a:gd name="connsiteX161" fmla="*/ 271763 w 1003127"/>
                <a:gd name="connsiteY161" fmla="*/ 66022 h 1282883"/>
                <a:gd name="connsiteX162" fmla="*/ 279757 w 1003127"/>
                <a:gd name="connsiteY162" fmla="*/ 54138 h 1282883"/>
                <a:gd name="connsiteX163" fmla="*/ 290414 w 1003127"/>
                <a:gd name="connsiteY163" fmla="*/ 44895 h 1282883"/>
                <a:gd name="connsiteX164" fmla="*/ 302404 w 1003127"/>
                <a:gd name="connsiteY164" fmla="*/ 34331 h 1282883"/>
                <a:gd name="connsiteX165" fmla="*/ 313061 w 1003127"/>
                <a:gd name="connsiteY165" fmla="*/ 26409 h 1282883"/>
                <a:gd name="connsiteX166" fmla="*/ 325051 w 1003127"/>
                <a:gd name="connsiteY166" fmla="*/ 18486 h 1282883"/>
                <a:gd name="connsiteX167" fmla="*/ 338372 w 1003127"/>
                <a:gd name="connsiteY167" fmla="*/ 11884 h 1282883"/>
                <a:gd name="connsiteX168" fmla="*/ 351694 w 1003127"/>
                <a:gd name="connsiteY168" fmla="*/ 6602 h 1282883"/>
                <a:gd name="connsiteX169" fmla="*/ 366348 w 1003127"/>
                <a:gd name="connsiteY169" fmla="*/ 3961 h 1282883"/>
                <a:gd name="connsiteX170" fmla="*/ 381002 w 1003127"/>
                <a:gd name="connsiteY170" fmla="*/ 1321 h 1282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</a:cxnLst>
              <a:rect l="l" t="t" r="r" b="b"/>
              <a:pathLst>
                <a:path w="1003127" h="1282883">
                  <a:moveTo>
                    <a:pt x="405579" y="319721"/>
                  </a:moveTo>
                  <a:lnTo>
                    <a:pt x="421625" y="322391"/>
                  </a:lnTo>
                  <a:lnTo>
                    <a:pt x="439009" y="325061"/>
                  </a:lnTo>
                  <a:lnTo>
                    <a:pt x="452382" y="330401"/>
                  </a:lnTo>
                  <a:lnTo>
                    <a:pt x="463080" y="338411"/>
                  </a:lnTo>
                  <a:lnTo>
                    <a:pt x="475115" y="349090"/>
                  </a:lnTo>
                  <a:lnTo>
                    <a:pt x="482552" y="358990"/>
                  </a:lnTo>
                  <a:lnTo>
                    <a:pt x="655428" y="511815"/>
                  </a:lnTo>
                  <a:lnTo>
                    <a:pt x="655297" y="512144"/>
                  </a:lnTo>
                  <a:lnTo>
                    <a:pt x="663422" y="512877"/>
                  </a:lnTo>
                  <a:lnTo>
                    <a:pt x="952504" y="580359"/>
                  </a:lnTo>
                  <a:lnTo>
                    <a:pt x="965826" y="583005"/>
                  </a:lnTo>
                  <a:lnTo>
                    <a:pt x="975152" y="589621"/>
                  </a:lnTo>
                  <a:lnTo>
                    <a:pt x="985809" y="597560"/>
                  </a:lnTo>
                  <a:lnTo>
                    <a:pt x="993802" y="608145"/>
                  </a:lnTo>
                  <a:lnTo>
                    <a:pt x="999131" y="620054"/>
                  </a:lnTo>
                  <a:lnTo>
                    <a:pt x="1001795" y="630639"/>
                  </a:lnTo>
                  <a:lnTo>
                    <a:pt x="1003127" y="643870"/>
                  </a:lnTo>
                  <a:lnTo>
                    <a:pt x="1001795" y="657102"/>
                  </a:lnTo>
                  <a:lnTo>
                    <a:pt x="996466" y="669011"/>
                  </a:lnTo>
                  <a:lnTo>
                    <a:pt x="989805" y="680919"/>
                  </a:lnTo>
                  <a:lnTo>
                    <a:pt x="981812" y="690181"/>
                  </a:lnTo>
                  <a:lnTo>
                    <a:pt x="972487" y="696797"/>
                  </a:lnTo>
                  <a:lnTo>
                    <a:pt x="961830" y="703413"/>
                  </a:lnTo>
                  <a:lnTo>
                    <a:pt x="948508" y="707382"/>
                  </a:lnTo>
                  <a:lnTo>
                    <a:pt x="937851" y="707382"/>
                  </a:lnTo>
                  <a:lnTo>
                    <a:pt x="924529" y="704736"/>
                  </a:lnTo>
                  <a:lnTo>
                    <a:pt x="638111" y="649163"/>
                  </a:lnTo>
                  <a:lnTo>
                    <a:pt x="624789" y="646517"/>
                  </a:lnTo>
                  <a:lnTo>
                    <a:pt x="611467" y="637255"/>
                  </a:lnTo>
                  <a:lnTo>
                    <a:pt x="606676" y="633553"/>
                  </a:lnTo>
                  <a:lnTo>
                    <a:pt x="605918" y="635445"/>
                  </a:lnTo>
                  <a:lnTo>
                    <a:pt x="539333" y="578412"/>
                  </a:lnTo>
                  <a:lnTo>
                    <a:pt x="585879" y="776504"/>
                  </a:lnTo>
                  <a:lnTo>
                    <a:pt x="768924" y="746738"/>
                  </a:lnTo>
                  <a:lnTo>
                    <a:pt x="769996" y="746052"/>
                  </a:lnTo>
                  <a:lnTo>
                    <a:pt x="784650" y="742035"/>
                  </a:lnTo>
                  <a:lnTo>
                    <a:pt x="803301" y="739357"/>
                  </a:lnTo>
                  <a:lnTo>
                    <a:pt x="820619" y="742035"/>
                  </a:lnTo>
                  <a:lnTo>
                    <a:pt x="835273" y="746052"/>
                  </a:lnTo>
                  <a:lnTo>
                    <a:pt x="849927" y="755425"/>
                  </a:lnTo>
                  <a:lnTo>
                    <a:pt x="863249" y="764798"/>
                  </a:lnTo>
                  <a:lnTo>
                    <a:pt x="872575" y="778188"/>
                  </a:lnTo>
                  <a:lnTo>
                    <a:pt x="881900" y="791578"/>
                  </a:lnTo>
                  <a:lnTo>
                    <a:pt x="885896" y="807645"/>
                  </a:lnTo>
                  <a:lnTo>
                    <a:pt x="888561" y="825052"/>
                  </a:lnTo>
                  <a:lnTo>
                    <a:pt x="891225" y="1178543"/>
                  </a:lnTo>
                  <a:lnTo>
                    <a:pt x="889893" y="1194611"/>
                  </a:lnTo>
                  <a:lnTo>
                    <a:pt x="884564" y="1210679"/>
                  </a:lnTo>
                  <a:lnTo>
                    <a:pt x="876571" y="1226747"/>
                  </a:lnTo>
                  <a:lnTo>
                    <a:pt x="865914" y="1237459"/>
                  </a:lnTo>
                  <a:lnTo>
                    <a:pt x="855256" y="1248170"/>
                  </a:lnTo>
                  <a:lnTo>
                    <a:pt x="839270" y="1256204"/>
                  </a:lnTo>
                  <a:lnTo>
                    <a:pt x="823284" y="1261560"/>
                  </a:lnTo>
                  <a:lnTo>
                    <a:pt x="807298" y="1262899"/>
                  </a:lnTo>
                  <a:lnTo>
                    <a:pt x="789979" y="1261560"/>
                  </a:lnTo>
                  <a:lnTo>
                    <a:pt x="773993" y="1256204"/>
                  </a:lnTo>
                  <a:lnTo>
                    <a:pt x="760671" y="1249509"/>
                  </a:lnTo>
                  <a:lnTo>
                    <a:pt x="747349" y="1237459"/>
                  </a:lnTo>
                  <a:lnTo>
                    <a:pt x="736692" y="1226747"/>
                  </a:lnTo>
                  <a:lnTo>
                    <a:pt x="728699" y="1210679"/>
                  </a:lnTo>
                  <a:lnTo>
                    <a:pt x="723370" y="1195950"/>
                  </a:lnTo>
                  <a:lnTo>
                    <a:pt x="722038" y="1178543"/>
                  </a:lnTo>
                  <a:lnTo>
                    <a:pt x="720139" y="926610"/>
                  </a:lnTo>
                  <a:lnTo>
                    <a:pt x="504485" y="962424"/>
                  </a:lnTo>
                  <a:lnTo>
                    <a:pt x="515552" y="1132139"/>
                  </a:lnTo>
                  <a:lnTo>
                    <a:pt x="514925" y="1140309"/>
                  </a:lnTo>
                  <a:lnTo>
                    <a:pt x="515552" y="1147806"/>
                  </a:lnTo>
                  <a:lnTo>
                    <a:pt x="512895" y="1165021"/>
                  </a:lnTo>
                  <a:lnTo>
                    <a:pt x="507580" y="1179589"/>
                  </a:lnTo>
                  <a:lnTo>
                    <a:pt x="499607" y="1192832"/>
                  </a:lnTo>
                  <a:lnTo>
                    <a:pt x="487649" y="1206074"/>
                  </a:lnTo>
                  <a:lnTo>
                    <a:pt x="474361" y="1215344"/>
                  </a:lnTo>
                  <a:lnTo>
                    <a:pt x="459745" y="1221966"/>
                  </a:lnTo>
                  <a:lnTo>
                    <a:pt x="442471" y="1227263"/>
                  </a:lnTo>
                  <a:lnTo>
                    <a:pt x="96998" y="1282883"/>
                  </a:lnTo>
                  <a:lnTo>
                    <a:pt x="81053" y="1282883"/>
                  </a:lnTo>
                  <a:lnTo>
                    <a:pt x="65108" y="1281559"/>
                  </a:lnTo>
                  <a:lnTo>
                    <a:pt x="49163" y="1274938"/>
                  </a:lnTo>
                  <a:lnTo>
                    <a:pt x="34547" y="1266992"/>
                  </a:lnTo>
                  <a:lnTo>
                    <a:pt x="22588" y="1256397"/>
                  </a:lnTo>
                  <a:lnTo>
                    <a:pt x="13287" y="1243155"/>
                  </a:lnTo>
                  <a:lnTo>
                    <a:pt x="6643" y="1228587"/>
                  </a:lnTo>
                  <a:lnTo>
                    <a:pt x="1328" y="1212696"/>
                  </a:lnTo>
                  <a:lnTo>
                    <a:pt x="0" y="1195480"/>
                  </a:lnTo>
                  <a:lnTo>
                    <a:pt x="3986" y="1179589"/>
                  </a:lnTo>
                  <a:lnTo>
                    <a:pt x="7972" y="1162373"/>
                  </a:lnTo>
                  <a:lnTo>
                    <a:pt x="17273" y="1149130"/>
                  </a:lnTo>
                  <a:lnTo>
                    <a:pt x="27903" y="1138536"/>
                  </a:lnTo>
                  <a:lnTo>
                    <a:pt x="41191" y="1127941"/>
                  </a:lnTo>
                  <a:lnTo>
                    <a:pt x="55807" y="1119996"/>
                  </a:lnTo>
                  <a:lnTo>
                    <a:pt x="73081" y="1117347"/>
                  </a:lnTo>
                  <a:lnTo>
                    <a:pt x="341830" y="1073049"/>
                  </a:lnTo>
                  <a:lnTo>
                    <a:pt x="330819" y="903638"/>
                  </a:lnTo>
                  <a:lnTo>
                    <a:pt x="330693" y="903096"/>
                  </a:lnTo>
                  <a:lnTo>
                    <a:pt x="249121" y="443872"/>
                  </a:lnTo>
                  <a:lnTo>
                    <a:pt x="247784" y="426518"/>
                  </a:lnTo>
                  <a:lnTo>
                    <a:pt x="247784" y="410498"/>
                  </a:lnTo>
                  <a:lnTo>
                    <a:pt x="251796" y="394479"/>
                  </a:lnTo>
                  <a:lnTo>
                    <a:pt x="261157" y="379794"/>
                  </a:lnTo>
                  <a:lnTo>
                    <a:pt x="270517" y="369115"/>
                  </a:lnTo>
                  <a:lnTo>
                    <a:pt x="282552" y="357100"/>
                  </a:lnTo>
                  <a:lnTo>
                    <a:pt x="297262" y="346420"/>
                  </a:lnTo>
                  <a:lnTo>
                    <a:pt x="311972" y="339746"/>
                  </a:lnTo>
                  <a:lnTo>
                    <a:pt x="337379" y="331736"/>
                  </a:lnTo>
                  <a:lnTo>
                    <a:pt x="360112" y="325061"/>
                  </a:lnTo>
                  <a:lnTo>
                    <a:pt x="381508" y="322391"/>
                  </a:lnTo>
                  <a:close/>
                  <a:moveTo>
                    <a:pt x="398320" y="0"/>
                  </a:moveTo>
                  <a:lnTo>
                    <a:pt x="412974" y="1321"/>
                  </a:lnTo>
                  <a:lnTo>
                    <a:pt x="427628" y="3961"/>
                  </a:lnTo>
                  <a:lnTo>
                    <a:pt x="442282" y="6602"/>
                  </a:lnTo>
                  <a:lnTo>
                    <a:pt x="455604" y="11884"/>
                  </a:lnTo>
                  <a:lnTo>
                    <a:pt x="468926" y="18486"/>
                  </a:lnTo>
                  <a:lnTo>
                    <a:pt x="480915" y="26409"/>
                  </a:lnTo>
                  <a:lnTo>
                    <a:pt x="492905" y="34331"/>
                  </a:lnTo>
                  <a:lnTo>
                    <a:pt x="503562" y="44895"/>
                  </a:lnTo>
                  <a:lnTo>
                    <a:pt x="514220" y="54138"/>
                  </a:lnTo>
                  <a:lnTo>
                    <a:pt x="522213" y="66022"/>
                  </a:lnTo>
                  <a:lnTo>
                    <a:pt x="528874" y="79226"/>
                  </a:lnTo>
                  <a:lnTo>
                    <a:pt x="535535" y="92430"/>
                  </a:lnTo>
                  <a:lnTo>
                    <a:pt x="540863" y="105635"/>
                  </a:lnTo>
                  <a:lnTo>
                    <a:pt x="544860" y="120160"/>
                  </a:lnTo>
                  <a:lnTo>
                    <a:pt x="547524" y="134684"/>
                  </a:lnTo>
                  <a:lnTo>
                    <a:pt x="547524" y="149209"/>
                  </a:lnTo>
                  <a:lnTo>
                    <a:pt x="547524" y="165054"/>
                  </a:lnTo>
                  <a:lnTo>
                    <a:pt x="544860" y="179579"/>
                  </a:lnTo>
                  <a:lnTo>
                    <a:pt x="540863" y="194104"/>
                  </a:lnTo>
                  <a:lnTo>
                    <a:pt x="535535" y="208628"/>
                  </a:lnTo>
                  <a:lnTo>
                    <a:pt x="528874" y="220512"/>
                  </a:lnTo>
                  <a:lnTo>
                    <a:pt x="522213" y="233717"/>
                  </a:lnTo>
                  <a:lnTo>
                    <a:pt x="514220" y="245601"/>
                  </a:lnTo>
                  <a:lnTo>
                    <a:pt x="503562" y="254844"/>
                  </a:lnTo>
                  <a:lnTo>
                    <a:pt x="492905" y="264087"/>
                  </a:lnTo>
                  <a:lnTo>
                    <a:pt x="480915" y="274650"/>
                  </a:lnTo>
                  <a:lnTo>
                    <a:pt x="468926" y="281252"/>
                  </a:lnTo>
                  <a:lnTo>
                    <a:pt x="455604" y="287854"/>
                  </a:lnTo>
                  <a:lnTo>
                    <a:pt x="442282" y="293136"/>
                  </a:lnTo>
                  <a:lnTo>
                    <a:pt x="427628" y="295777"/>
                  </a:lnTo>
                  <a:lnTo>
                    <a:pt x="412974" y="299738"/>
                  </a:lnTo>
                  <a:lnTo>
                    <a:pt x="398320" y="299738"/>
                  </a:lnTo>
                  <a:lnTo>
                    <a:pt x="381002" y="299738"/>
                  </a:lnTo>
                  <a:lnTo>
                    <a:pt x="366348" y="295777"/>
                  </a:lnTo>
                  <a:lnTo>
                    <a:pt x="351694" y="293136"/>
                  </a:lnTo>
                  <a:lnTo>
                    <a:pt x="338372" y="287854"/>
                  </a:lnTo>
                  <a:lnTo>
                    <a:pt x="325051" y="281252"/>
                  </a:lnTo>
                  <a:lnTo>
                    <a:pt x="313061" y="274650"/>
                  </a:lnTo>
                  <a:lnTo>
                    <a:pt x="302404" y="264087"/>
                  </a:lnTo>
                  <a:lnTo>
                    <a:pt x="290414" y="254844"/>
                  </a:lnTo>
                  <a:lnTo>
                    <a:pt x="279757" y="245601"/>
                  </a:lnTo>
                  <a:lnTo>
                    <a:pt x="271763" y="233717"/>
                  </a:lnTo>
                  <a:lnTo>
                    <a:pt x="265103" y="220512"/>
                  </a:lnTo>
                  <a:lnTo>
                    <a:pt x="258442" y="208628"/>
                  </a:lnTo>
                  <a:lnTo>
                    <a:pt x="254445" y="194104"/>
                  </a:lnTo>
                  <a:lnTo>
                    <a:pt x="249116" y="179579"/>
                  </a:lnTo>
                  <a:lnTo>
                    <a:pt x="247784" y="165054"/>
                  </a:lnTo>
                  <a:lnTo>
                    <a:pt x="247784" y="149209"/>
                  </a:lnTo>
                  <a:lnTo>
                    <a:pt x="247784" y="134684"/>
                  </a:lnTo>
                  <a:lnTo>
                    <a:pt x="249116" y="120160"/>
                  </a:lnTo>
                  <a:lnTo>
                    <a:pt x="254445" y="105635"/>
                  </a:lnTo>
                  <a:lnTo>
                    <a:pt x="258442" y="92430"/>
                  </a:lnTo>
                  <a:lnTo>
                    <a:pt x="265103" y="79226"/>
                  </a:lnTo>
                  <a:lnTo>
                    <a:pt x="271763" y="66022"/>
                  </a:lnTo>
                  <a:lnTo>
                    <a:pt x="279757" y="54138"/>
                  </a:lnTo>
                  <a:lnTo>
                    <a:pt x="290414" y="44895"/>
                  </a:lnTo>
                  <a:lnTo>
                    <a:pt x="302404" y="34331"/>
                  </a:lnTo>
                  <a:lnTo>
                    <a:pt x="313061" y="26409"/>
                  </a:lnTo>
                  <a:lnTo>
                    <a:pt x="325051" y="18486"/>
                  </a:lnTo>
                  <a:lnTo>
                    <a:pt x="338372" y="11884"/>
                  </a:lnTo>
                  <a:lnTo>
                    <a:pt x="351694" y="6602"/>
                  </a:lnTo>
                  <a:lnTo>
                    <a:pt x="366348" y="3961"/>
                  </a:lnTo>
                  <a:lnTo>
                    <a:pt x="381002" y="13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4141901" y="3013263"/>
            <a:ext cx="1374803" cy="2553775"/>
            <a:chOff x="4141901" y="3013263"/>
            <a:chExt cx="1374803" cy="2553775"/>
          </a:xfrm>
        </p:grpSpPr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4141901" y="4052357"/>
              <a:ext cx="867244" cy="1514681"/>
            </a:xfrm>
            <a:custGeom>
              <a:avLst/>
              <a:gdLst>
                <a:gd name="connsiteX0" fmla="*/ 122560 w 867244"/>
                <a:gd name="connsiteY0" fmla="*/ 3998 h 1514681"/>
                <a:gd name="connsiteX1" fmla="*/ 137214 w 867244"/>
                <a:gd name="connsiteY1" fmla="*/ 3998 h 1514681"/>
                <a:gd name="connsiteX2" fmla="*/ 151867 w 867244"/>
                <a:gd name="connsiteY2" fmla="*/ 3998 h 1514681"/>
                <a:gd name="connsiteX3" fmla="*/ 165189 w 867244"/>
                <a:gd name="connsiteY3" fmla="*/ 3998 h 1514681"/>
                <a:gd name="connsiteX4" fmla="*/ 181175 w 867244"/>
                <a:gd name="connsiteY4" fmla="*/ 6637 h 1514681"/>
                <a:gd name="connsiteX5" fmla="*/ 194497 w 867244"/>
                <a:gd name="connsiteY5" fmla="*/ 11917 h 1514681"/>
                <a:gd name="connsiteX6" fmla="*/ 207819 w 867244"/>
                <a:gd name="connsiteY6" fmla="*/ 17196 h 1514681"/>
                <a:gd name="connsiteX7" fmla="*/ 218476 w 867244"/>
                <a:gd name="connsiteY7" fmla="*/ 23794 h 1514681"/>
                <a:gd name="connsiteX8" fmla="*/ 230466 w 867244"/>
                <a:gd name="connsiteY8" fmla="*/ 31713 h 1514681"/>
                <a:gd name="connsiteX9" fmla="*/ 239791 w 867244"/>
                <a:gd name="connsiteY9" fmla="*/ 39632 h 1514681"/>
                <a:gd name="connsiteX10" fmla="*/ 250448 w 867244"/>
                <a:gd name="connsiteY10" fmla="*/ 50190 h 1514681"/>
                <a:gd name="connsiteX11" fmla="*/ 259773 w 867244"/>
                <a:gd name="connsiteY11" fmla="*/ 59428 h 1514681"/>
                <a:gd name="connsiteX12" fmla="*/ 266434 w 867244"/>
                <a:gd name="connsiteY12" fmla="*/ 71306 h 1514681"/>
                <a:gd name="connsiteX13" fmla="*/ 273095 w 867244"/>
                <a:gd name="connsiteY13" fmla="*/ 84504 h 1514681"/>
                <a:gd name="connsiteX14" fmla="*/ 279756 w 867244"/>
                <a:gd name="connsiteY14" fmla="*/ 96382 h 1514681"/>
                <a:gd name="connsiteX15" fmla="*/ 283752 w 867244"/>
                <a:gd name="connsiteY15" fmla="*/ 110899 h 1514681"/>
                <a:gd name="connsiteX16" fmla="*/ 286417 w 867244"/>
                <a:gd name="connsiteY16" fmla="*/ 124097 h 1514681"/>
                <a:gd name="connsiteX17" fmla="*/ 287749 w 867244"/>
                <a:gd name="connsiteY17" fmla="*/ 138615 h 1514681"/>
                <a:gd name="connsiteX18" fmla="*/ 287749 w 867244"/>
                <a:gd name="connsiteY18" fmla="*/ 153132 h 1514681"/>
                <a:gd name="connsiteX19" fmla="*/ 286417 w 867244"/>
                <a:gd name="connsiteY19" fmla="*/ 167650 h 1514681"/>
                <a:gd name="connsiteX20" fmla="*/ 283752 w 867244"/>
                <a:gd name="connsiteY20" fmla="*/ 180847 h 1514681"/>
                <a:gd name="connsiteX21" fmla="*/ 279756 w 867244"/>
                <a:gd name="connsiteY21" fmla="*/ 194045 h 1514681"/>
                <a:gd name="connsiteX22" fmla="*/ 273095 w 867244"/>
                <a:gd name="connsiteY22" fmla="*/ 207243 h 1514681"/>
                <a:gd name="connsiteX23" fmla="*/ 269098 w 867244"/>
                <a:gd name="connsiteY23" fmla="*/ 219121 h 1514681"/>
                <a:gd name="connsiteX24" fmla="*/ 259773 w 867244"/>
                <a:gd name="connsiteY24" fmla="*/ 230999 h 1514681"/>
                <a:gd name="connsiteX25" fmla="*/ 251780 w 867244"/>
                <a:gd name="connsiteY25" fmla="*/ 241557 h 1514681"/>
                <a:gd name="connsiteX26" fmla="*/ 242455 w 867244"/>
                <a:gd name="connsiteY26" fmla="*/ 252115 h 1514681"/>
                <a:gd name="connsiteX27" fmla="*/ 230466 w 867244"/>
                <a:gd name="connsiteY27" fmla="*/ 260034 h 1514681"/>
                <a:gd name="connsiteX28" fmla="*/ 218476 w 867244"/>
                <a:gd name="connsiteY28" fmla="*/ 267953 h 1514681"/>
                <a:gd name="connsiteX29" fmla="*/ 207819 w 867244"/>
                <a:gd name="connsiteY29" fmla="*/ 274552 h 1514681"/>
                <a:gd name="connsiteX30" fmla="*/ 194497 w 867244"/>
                <a:gd name="connsiteY30" fmla="*/ 279831 h 1514681"/>
                <a:gd name="connsiteX31" fmla="*/ 181175 w 867244"/>
                <a:gd name="connsiteY31" fmla="*/ 285110 h 1514681"/>
                <a:gd name="connsiteX32" fmla="*/ 165189 w 867244"/>
                <a:gd name="connsiteY32" fmla="*/ 286429 h 1514681"/>
                <a:gd name="connsiteX33" fmla="*/ 150535 w 867244"/>
                <a:gd name="connsiteY33" fmla="*/ 287749 h 1514681"/>
                <a:gd name="connsiteX34" fmla="*/ 137214 w 867244"/>
                <a:gd name="connsiteY34" fmla="*/ 287749 h 1514681"/>
                <a:gd name="connsiteX35" fmla="*/ 122560 w 867244"/>
                <a:gd name="connsiteY35" fmla="*/ 286429 h 1514681"/>
                <a:gd name="connsiteX36" fmla="*/ 107906 w 867244"/>
                <a:gd name="connsiteY36" fmla="*/ 285110 h 1514681"/>
                <a:gd name="connsiteX37" fmla="*/ 94584 w 867244"/>
                <a:gd name="connsiteY37" fmla="*/ 279831 h 1514681"/>
                <a:gd name="connsiteX38" fmla="*/ 82594 w 867244"/>
                <a:gd name="connsiteY38" fmla="*/ 274552 h 1514681"/>
                <a:gd name="connsiteX39" fmla="*/ 69273 w 867244"/>
                <a:gd name="connsiteY39" fmla="*/ 267953 h 1514681"/>
                <a:gd name="connsiteX40" fmla="*/ 58615 w 867244"/>
                <a:gd name="connsiteY40" fmla="*/ 260034 h 1514681"/>
                <a:gd name="connsiteX41" fmla="*/ 47958 w 867244"/>
                <a:gd name="connsiteY41" fmla="*/ 252115 h 1514681"/>
                <a:gd name="connsiteX42" fmla="*/ 38633 w 867244"/>
                <a:gd name="connsiteY42" fmla="*/ 241557 h 1514681"/>
                <a:gd name="connsiteX43" fmla="*/ 27975 w 867244"/>
                <a:gd name="connsiteY43" fmla="*/ 232318 h 1514681"/>
                <a:gd name="connsiteX44" fmla="*/ 21315 w 867244"/>
                <a:gd name="connsiteY44" fmla="*/ 220440 h 1514681"/>
                <a:gd name="connsiteX45" fmla="*/ 14654 w 867244"/>
                <a:gd name="connsiteY45" fmla="*/ 207243 h 1514681"/>
                <a:gd name="connsiteX46" fmla="*/ 7993 w 867244"/>
                <a:gd name="connsiteY46" fmla="*/ 194045 h 1514681"/>
                <a:gd name="connsiteX47" fmla="*/ 5329 w 867244"/>
                <a:gd name="connsiteY47" fmla="*/ 180847 h 1514681"/>
                <a:gd name="connsiteX48" fmla="*/ 1332 w 867244"/>
                <a:gd name="connsiteY48" fmla="*/ 167650 h 1514681"/>
                <a:gd name="connsiteX49" fmla="*/ 0 w 867244"/>
                <a:gd name="connsiteY49" fmla="*/ 153132 h 1514681"/>
                <a:gd name="connsiteX50" fmla="*/ 0 w 867244"/>
                <a:gd name="connsiteY50" fmla="*/ 138615 h 1514681"/>
                <a:gd name="connsiteX51" fmla="*/ 1332 w 867244"/>
                <a:gd name="connsiteY51" fmla="*/ 124097 h 1514681"/>
                <a:gd name="connsiteX52" fmla="*/ 5329 w 867244"/>
                <a:gd name="connsiteY52" fmla="*/ 110899 h 1514681"/>
                <a:gd name="connsiteX53" fmla="*/ 7993 w 867244"/>
                <a:gd name="connsiteY53" fmla="*/ 97702 h 1514681"/>
                <a:gd name="connsiteX54" fmla="*/ 14654 w 867244"/>
                <a:gd name="connsiteY54" fmla="*/ 84504 h 1514681"/>
                <a:gd name="connsiteX55" fmla="*/ 21315 w 867244"/>
                <a:gd name="connsiteY55" fmla="*/ 72626 h 1514681"/>
                <a:gd name="connsiteX56" fmla="*/ 27975 w 867244"/>
                <a:gd name="connsiteY56" fmla="*/ 62068 h 1514681"/>
                <a:gd name="connsiteX57" fmla="*/ 38633 w 867244"/>
                <a:gd name="connsiteY57" fmla="*/ 50190 h 1514681"/>
                <a:gd name="connsiteX58" fmla="*/ 46626 w 867244"/>
                <a:gd name="connsiteY58" fmla="*/ 39632 h 1514681"/>
                <a:gd name="connsiteX59" fmla="*/ 58615 w 867244"/>
                <a:gd name="connsiteY59" fmla="*/ 31713 h 1514681"/>
                <a:gd name="connsiteX60" fmla="*/ 69273 w 867244"/>
                <a:gd name="connsiteY60" fmla="*/ 23794 h 1514681"/>
                <a:gd name="connsiteX61" fmla="*/ 81262 w 867244"/>
                <a:gd name="connsiteY61" fmla="*/ 17196 h 1514681"/>
                <a:gd name="connsiteX62" fmla="*/ 94584 w 867244"/>
                <a:gd name="connsiteY62" fmla="*/ 11917 h 1514681"/>
                <a:gd name="connsiteX63" fmla="*/ 107906 w 867244"/>
                <a:gd name="connsiteY63" fmla="*/ 6637 h 1514681"/>
                <a:gd name="connsiteX64" fmla="*/ 796639 w 867244"/>
                <a:gd name="connsiteY64" fmla="*/ 0 h 1514681"/>
                <a:gd name="connsiteX65" fmla="*/ 808629 w 867244"/>
                <a:gd name="connsiteY65" fmla="*/ 0 h 1514681"/>
                <a:gd name="connsiteX66" fmla="*/ 821950 w 867244"/>
                <a:gd name="connsiteY66" fmla="*/ 2654 h 1514681"/>
                <a:gd name="connsiteX67" fmla="*/ 831276 w 867244"/>
                <a:gd name="connsiteY67" fmla="*/ 6636 h 1514681"/>
                <a:gd name="connsiteX68" fmla="*/ 843265 w 867244"/>
                <a:gd name="connsiteY68" fmla="*/ 13272 h 1514681"/>
                <a:gd name="connsiteX69" fmla="*/ 851258 w 867244"/>
                <a:gd name="connsiteY69" fmla="*/ 23889 h 1514681"/>
                <a:gd name="connsiteX70" fmla="*/ 857919 w 867244"/>
                <a:gd name="connsiteY70" fmla="*/ 33180 h 1514681"/>
                <a:gd name="connsiteX71" fmla="*/ 863248 w 867244"/>
                <a:gd name="connsiteY71" fmla="*/ 43797 h 1514681"/>
                <a:gd name="connsiteX72" fmla="*/ 867244 w 867244"/>
                <a:gd name="connsiteY72" fmla="*/ 57069 h 1514681"/>
                <a:gd name="connsiteX73" fmla="*/ 867244 w 867244"/>
                <a:gd name="connsiteY73" fmla="*/ 67687 h 1514681"/>
                <a:gd name="connsiteX74" fmla="*/ 863248 w 867244"/>
                <a:gd name="connsiteY74" fmla="*/ 79632 h 1514681"/>
                <a:gd name="connsiteX75" fmla="*/ 860583 w 867244"/>
                <a:gd name="connsiteY75" fmla="*/ 91577 h 1514681"/>
                <a:gd name="connsiteX76" fmla="*/ 851258 w 867244"/>
                <a:gd name="connsiteY76" fmla="*/ 100867 h 1514681"/>
                <a:gd name="connsiteX77" fmla="*/ 680740 w 867244"/>
                <a:gd name="connsiteY77" fmla="*/ 323836 h 1514681"/>
                <a:gd name="connsiteX78" fmla="*/ 671415 w 867244"/>
                <a:gd name="connsiteY78" fmla="*/ 334454 h 1514681"/>
                <a:gd name="connsiteX79" fmla="*/ 659426 w 867244"/>
                <a:gd name="connsiteY79" fmla="*/ 342417 h 1514681"/>
                <a:gd name="connsiteX80" fmla="*/ 644772 w 867244"/>
                <a:gd name="connsiteY80" fmla="*/ 349053 h 1514681"/>
                <a:gd name="connsiteX81" fmla="*/ 643636 w 867244"/>
                <a:gd name="connsiteY81" fmla="*/ 349259 h 1514681"/>
                <a:gd name="connsiteX82" fmla="*/ 459779 w 867244"/>
                <a:gd name="connsiteY82" fmla="*/ 435267 h 1514681"/>
                <a:gd name="connsiteX83" fmla="*/ 483581 w 867244"/>
                <a:gd name="connsiteY83" fmla="*/ 818415 h 1514681"/>
                <a:gd name="connsiteX84" fmla="*/ 482656 w 867244"/>
                <a:gd name="connsiteY84" fmla="*/ 831366 h 1514681"/>
                <a:gd name="connsiteX85" fmla="*/ 548856 w 867244"/>
                <a:gd name="connsiteY85" fmla="*/ 1082556 h 1514681"/>
                <a:gd name="connsiteX86" fmla="*/ 550131 w 867244"/>
                <a:gd name="connsiteY86" fmla="*/ 1089606 h 1514681"/>
                <a:gd name="connsiteX87" fmla="*/ 550187 w 867244"/>
                <a:gd name="connsiteY87" fmla="*/ 1089718 h 1514681"/>
                <a:gd name="connsiteX88" fmla="*/ 555516 w 867244"/>
                <a:gd name="connsiteY88" fmla="*/ 1104372 h 1514681"/>
                <a:gd name="connsiteX89" fmla="*/ 556848 w 867244"/>
                <a:gd name="connsiteY89" fmla="*/ 1120358 h 1514681"/>
                <a:gd name="connsiteX90" fmla="*/ 563509 w 867244"/>
                <a:gd name="connsiteY90" fmla="*/ 1437415 h 1514681"/>
                <a:gd name="connsiteX91" fmla="*/ 562177 w 867244"/>
                <a:gd name="connsiteY91" fmla="*/ 1453401 h 1514681"/>
                <a:gd name="connsiteX92" fmla="*/ 556848 w 867244"/>
                <a:gd name="connsiteY92" fmla="*/ 1468055 h 1514681"/>
                <a:gd name="connsiteX93" fmla="*/ 550187 w 867244"/>
                <a:gd name="connsiteY93" fmla="*/ 1478713 h 1514681"/>
                <a:gd name="connsiteX94" fmla="*/ 539530 w 867244"/>
                <a:gd name="connsiteY94" fmla="*/ 1490702 h 1514681"/>
                <a:gd name="connsiteX95" fmla="*/ 530205 w 867244"/>
                <a:gd name="connsiteY95" fmla="*/ 1501360 h 1514681"/>
                <a:gd name="connsiteX96" fmla="*/ 516883 w 867244"/>
                <a:gd name="connsiteY96" fmla="*/ 1508020 h 1514681"/>
                <a:gd name="connsiteX97" fmla="*/ 502229 w 867244"/>
                <a:gd name="connsiteY97" fmla="*/ 1512017 h 1514681"/>
                <a:gd name="connsiteX98" fmla="*/ 487575 w 867244"/>
                <a:gd name="connsiteY98" fmla="*/ 1514681 h 1514681"/>
                <a:gd name="connsiteX99" fmla="*/ 471589 w 867244"/>
                <a:gd name="connsiteY99" fmla="*/ 1512017 h 1514681"/>
                <a:gd name="connsiteX100" fmla="*/ 456935 w 867244"/>
                <a:gd name="connsiteY100" fmla="*/ 1509353 h 1514681"/>
                <a:gd name="connsiteX101" fmla="*/ 443613 w 867244"/>
                <a:gd name="connsiteY101" fmla="*/ 1501360 h 1514681"/>
                <a:gd name="connsiteX102" fmla="*/ 432956 w 867244"/>
                <a:gd name="connsiteY102" fmla="*/ 1492034 h 1514681"/>
                <a:gd name="connsiteX103" fmla="*/ 422299 w 867244"/>
                <a:gd name="connsiteY103" fmla="*/ 1481377 h 1514681"/>
                <a:gd name="connsiteX104" fmla="*/ 415638 w 867244"/>
                <a:gd name="connsiteY104" fmla="*/ 1468055 h 1514681"/>
                <a:gd name="connsiteX105" fmla="*/ 410309 w 867244"/>
                <a:gd name="connsiteY105" fmla="*/ 1454733 h 1514681"/>
                <a:gd name="connsiteX106" fmla="*/ 408977 w 867244"/>
                <a:gd name="connsiteY106" fmla="*/ 1437415 h 1514681"/>
                <a:gd name="connsiteX107" fmla="*/ 403797 w 867244"/>
                <a:gd name="connsiteY107" fmla="*/ 1130504 h 1514681"/>
                <a:gd name="connsiteX108" fmla="*/ 400985 w 867244"/>
                <a:gd name="connsiteY108" fmla="*/ 1122730 h 1514681"/>
                <a:gd name="connsiteX109" fmla="*/ 350622 w 867244"/>
                <a:gd name="connsiteY109" fmla="*/ 930925 h 1514681"/>
                <a:gd name="connsiteX110" fmla="*/ 325049 w 867244"/>
                <a:gd name="connsiteY110" fmla="*/ 1102709 h 1514681"/>
                <a:gd name="connsiteX111" fmla="*/ 319720 w 867244"/>
                <a:gd name="connsiteY111" fmla="*/ 1117439 h 1514681"/>
                <a:gd name="connsiteX112" fmla="*/ 316296 w 867244"/>
                <a:gd name="connsiteY112" fmla="*/ 1124323 h 1514681"/>
                <a:gd name="connsiteX113" fmla="*/ 314392 w 867244"/>
                <a:gd name="connsiteY113" fmla="*/ 1131323 h 1514681"/>
                <a:gd name="connsiteX114" fmla="*/ 203822 w 867244"/>
                <a:gd name="connsiteY114" fmla="*/ 1430611 h 1514681"/>
                <a:gd name="connsiteX115" fmla="*/ 197161 w 867244"/>
                <a:gd name="connsiteY115" fmla="*/ 1443972 h 1514681"/>
                <a:gd name="connsiteX116" fmla="*/ 187836 w 867244"/>
                <a:gd name="connsiteY116" fmla="*/ 1455997 h 1514681"/>
                <a:gd name="connsiteX117" fmla="*/ 175846 w 867244"/>
                <a:gd name="connsiteY117" fmla="*/ 1465350 h 1514681"/>
                <a:gd name="connsiteX118" fmla="*/ 163857 w 867244"/>
                <a:gd name="connsiteY118" fmla="*/ 1472031 h 1514681"/>
                <a:gd name="connsiteX119" fmla="*/ 149203 w 867244"/>
                <a:gd name="connsiteY119" fmla="*/ 1477375 h 1514681"/>
                <a:gd name="connsiteX120" fmla="*/ 134549 w 867244"/>
                <a:gd name="connsiteY120" fmla="*/ 1478711 h 1514681"/>
                <a:gd name="connsiteX121" fmla="*/ 119895 w 867244"/>
                <a:gd name="connsiteY121" fmla="*/ 1478711 h 1514681"/>
                <a:gd name="connsiteX122" fmla="*/ 103909 w 867244"/>
                <a:gd name="connsiteY122" fmla="*/ 1474703 h 1514681"/>
                <a:gd name="connsiteX123" fmla="*/ 90587 w 867244"/>
                <a:gd name="connsiteY123" fmla="*/ 1468022 h 1514681"/>
                <a:gd name="connsiteX124" fmla="*/ 79930 w 867244"/>
                <a:gd name="connsiteY124" fmla="*/ 1457333 h 1514681"/>
                <a:gd name="connsiteX125" fmla="*/ 69273 w 867244"/>
                <a:gd name="connsiteY125" fmla="*/ 1447981 h 1514681"/>
                <a:gd name="connsiteX126" fmla="*/ 62612 w 867244"/>
                <a:gd name="connsiteY126" fmla="*/ 1434620 h 1514681"/>
                <a:gd name="connsiteX127" fmla="*/ 58615 w 867244"/>
                <a:gd name="connsiteY127" fmla="*/ 1418586 h 1514681"/>
                <a:gd name="connsiteX128" fmla="*/ 55951 w 867244"/>
                <a:gd name="connsiteY128" fmla="*/ 1406561 h 1514681"/>
                <a:gd name="connsiteX129" fmla="*/ 55951 w 867244"/>
                <a:gd name="connsiteY129" fmla="*/ 1390528 h 1514681"/>
                <a:gd name="connsiteX130" fmla="*/ 61280 w 867244"/>
                <a:gd name="connsiteY130" fmla="*/ 1375831 h 1514681"/>
                <a:gd name="connsiteX131" fmla="*/ 170518 w 867244"/>
                <a:gd name="connsiteY131" fmla="*/ 1076542 h 1514681"/>
                <a:gd name="connsiteX132" fmla="*/ 172703 w 867244"/>
                <a:gd name="connsiteY132" fmla="*/ 1072889 h 1514681"/>
                <a:gd name="connsiteX133" fmla="*/ 204733 w 867244"/>
                <a:gd name="connsiteY133" fmla="*/ 858517 h 1514681"/>
                <a:gd name="connsiteX134" fmla="*/ 167854 w 867244"/>
                <a:gd name="connsiteY134" fmla="*/ 409898 h 1514681"/>
                <a:gd name="connsiteX135" fmla="*/ 167854 w 867244"/>
                <a:gd name="connsiteY135" fmla="*/ 392655 h 1514681"/>
                <a:gd name="connsiteX136" fmla="*/ 170507 w 867244"/>
                <a:gd name="connsiteY136" fmla="*/ 378065 h 1514681"/>
                <a:gd name="connsiteX137" fmla="*/ 177140 w 867244"/>
                <a:gd name="connsiteY137" fmla="*/ 363475 h 1514681"/>
                <a:gd name="connsiteX138" fmla="*/ 187753 w 867244"/>
                <a:gd name="connsiteY138" fmla="*/ 350212 h 1514681"/>
                <a:gd name="connsiteX139" fmla="*/ 191068 w 867244"/>
                <a:gd name="connsiteY139" fmla="*/ 346897 h 1514681"/>
                <a:gd name="connsiteX140" fmla="*/ 193048 w 867244"/>
                <a:gd name="connsiteY140" fmla="*/ 343701 h 1514681"/>
                <a:gd name="connsiteX141" fmla="*/ 202292 w 867244"/>
                <a:gd name="connsiteY141" fmla="*/ 335708 h 1514681"/>
                <a:gd name="connsiteX142" fmla="*/ 380495 w 867244"/>
                <a:gd name="connsiteY142" fmla="*/ 193657 h 1514681"/>
                <a:gd name="connsiteX143" fmla="*/ 446700 w 867244"/>
                <a:gd name="connsiteY143" fmla="*/ 37018 h 1514681"/>
                <a:gd name="connsiteX144" fmla="*/ 456346 w 867244"/>
                <a:gd name="connsiteY144" fmla="*/ 43850 h 1514681"/>
                <a:gd name="connsiteX145" fmla="*/ 478942 w 867244"/>
                <a:gd name="connsiteY145" fmla="*/ 58520 h 1514681"/>
                <a:gd name="connsiteX146" fmla="*/ 504196 w 867244"/>
                <a:gd name="connsiteY146" fmla="*/ 71857 h 1514681"/>
                <a:gd name="connsiteX147" fmla="*/ 529450 w 867244"/>
                <a:gd name="connsiteY147" fmla="*/ 85194 h 1514681"/>
                <a:gd name="connsiteX148" fmla="*/ 549401 w 867244"/>
                <a:gd name="connsiteY148" fmla="*/ 94202 h 1514681"/>
                <a:gd name="connsiteX149" fmla="*/ 483578 w 867244"/>
                <a:gd name="connsiteY149" fmla="*/ 248871 h 1514681"/>
                <a:gd name="connsiteX150" fmla="*/ 479582 w 867244"/>
                <a:gd name="connsiteY150" fmla="*/ 259604 h 1514681"/>
                <a:gd name="connsiteX151" fmla="*/ 473187 w 867244"/>
                <a:gd name="connsiteY151" fmla="*/ 265124 h 1514681"/>
                <a:gd name="connsiteX152" fmla="*/ 470372 w 867244"/>
                <a:gd name="connsiteY152" fmla="*/ 269100 h 1514681"/>
                <a:gd name="connsiteX153" fmla="*/ 462449 w 867244"/>
                <a:gd name="connsiteY153" fmla="*/ 277093 h 1514681"/>
                <a:gd name="connsiteX154" fmla="*/ 407871 w 867244"/>
                <a:gd name="connsiteY154" fmla="*/ 320984 h 1514681"/>
                <a:gd name="connsiteX155" fmla="*/ 409770 w 867244"/>
                <a:gd name="connsiteY155" fmla="*/ 321934 h 1514681"/>
                <a:gd name="connsiteX156" fmla="*/ 438933 w 867244"/>
                <a:gd name="connsiteY156" fmla="*/ 309991 h 1514681"/>
                <a:gd name="connsiteX157" fmla="*/ 559782 w 867244"/>
                <a:gd name="connsiteY157" fmla="*/ 260498 h 1514681"/>
                <a:gd name="connsiteX158" fmla="*/ 560845 w 867244"/>
                <a:gd name="connsiteY158" fmla="*/ 258803 h 1514681"/>
                <a:gd name="connsiteX159" fmla="*/ 755342 w 867244"/>
                <a:gd name="connsiteY159" fmla="*/ 23889 h 1514681"/>
                <a:gd name="connsiteX160" fmla="*/ 764667 w 867244"/>
                <a:gd name="connsiteY160" fmla="*/ 13272 h 1514681"/>
                <a:gd name="connsiteX161" fmla="*/ 773992 w 867244"/>
                <a:gd name="connsiteY161" fmla="*/ 6636 h 1514681"/>
                <a:gd name="connsiteX162" fmla="*/ 785982 w 867244"/>
                <a:gd name="connsiteY162" fmla="*/ 2654 h 151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</a:cxnLst>
              <a:rect l="l" t="t" r="r" b="b"/>
              <a:pathLst>
                <a:path w="867244" h="1514681">
                  <a:moveTo>
                    <a:pt x="122560" y="3998"/>
                  </a:moveTo>
                  <a:lnTo>
                    <a:pt x="137214" y="3998"/>
                  </a:lnTo>
                  <a:lnTo>
                    <a:pt x="151867" y="3998"/>
                  </a:lnTo>
                  <a:lnTo>
                    <a:pt x="165189" y="3998"/>
                  </a:lnTo>
                  <a:lnTo>
                    <a:pt x="181175" y="6637"/>
                  </a:lnTo>
                  <a:lnTo>
                    <a:pt x="194497" y="11917"/>
                  </a:lnTo>
                  <a:lnTo>
                    <a:pt x="207819" y="17196"/>
                  </a:lnTo>
                  <a:lnTo>
                    <a:pt x="218476" y="23794"/>
                  </a:lnTo>
                  <a:lnTo>
                    <a:pt x="230466" y="31713"/>
                  </a:lnTo>
                  <a:lnTo>
                    <a:pt x="239791" y="39632"/>
                  </a:lnTo>
                  <a:lnTo>
                    <a:pt x="250448" y="50190"/>
                  </a:lnTo>
                  <a:lnTo>
                    <a:pt x="259773" y="59428"/>
                  </a:lnTo>
                  <a:lnTo>
                    <a:pt x="266434" y="71306"/>
                  </a:lnTo>
                  <a:lnTo>
                    <a:pt x="273095" y="84504"/>
                  </a:lnTo>
                  <a:lnTo>
                    <a:pt x="279756" y="96382"/>
                  </a:lnTo>
                  <a:lnTo>
                    <a:pt x="283752" y="110899"/>
                  </a:lnTo>
                  <a:lnTo>
                    <a:pt x="286417" y="124097"/>
                  </a:lnTo>
                  <a:lnTo>
                    <a:pt x="287749" y="138615"/>
                  </a:lnTo>
                  <a:lnTo>
                    <a:pt x="287749" y="153132"/>
                  </a:lnTo>
                  <a:lnTo>
                    <a:pt x="286417" y="167650"/>
                  </a:lnTo>
                  <a:lnTo>
                    <a:pt x="283752" y="180847"/>
                  </a:lnTo>
                  <a:lnTo>
                    <a:pt x="279756" y="194045"/>
                  </a:lnTo>
                  <a:lnTo>
                    <a:pt x="273095" y="207243"/>
                  </a:lnTo>
                  <a:lnTo>
                    <a:pt x="269098" y="219121"/>
                  </a:lnTo>
                  <a:lnTo>
                    <a:pt x="259773" y="230999"/>
                  </a:lnTo>
                  <a:lnTo>
                    <a:pt x="251780" y="241557"/>
                  </a:lnTo>
                  <a:lnTo>
                    <a:pt x="242455" y="252115"/>
                  </a:lnTo>
                  <a:lnTo>
                    <a:pt x="230466" y="260034"/>
                  </a:lnTo>
                  <a:lnTo>
                    <a:pt x="218476" y="267953"/>
                  </a:lnTo>
                  <a:lnTo>
                    <a:pt x="207819" y="274552"/>
                  </a:lnTo>
                  <a:lnTo>
                    <a:pt x="194497" y="279831"/>
                  </a:lnTo>
                  <a:lnTo>
                    <a:pt x="181175" y="285110"/>
                  </a:lnTo>
                  <a:lnTo>
                    <a:pt x="165189" y="286429"/>
                  </a:lnTo>
                  <a:lnTo>
                    <a:pt x="150535" y="287749"/>
                  </a:lnTo>
                  <a:lnTo>
                    <a:pt x="137214" y="287749"/>
                  </a:lnTo>
                  <a:lnTo>
                    <a:pt x="122560" y="286429"/>
                  </a:lnTo>
                  <a:lnTo>
                    <a:pt x="107906" y="285110"/>
                  </a:lnTo>
                  <a:lnTo>
                    <a:pt x="94584" y="279831"/>
                  </a:lnTo>
                  <a:lnTo>
                    <a:pt x="82594" y="274552"/>
                  </a:lnTo>
                  <a:lnTo>
                    <a:pt x="69273" y="267953"/>
                  </a:lnTo>
                  <a:lnTo>
                    <a:pt x="58615" y="260034"/>
                  </a:lnTo>
                  <a:lnTo>
                    <a:pt x="47958" y="252115"/>
                  </a:lnTo>
                  <a:lnTo>
                    <a:pt x="38633" y="241557"/>
                  </a:lnTo>
                  <a:lnTo>
                    <a:pt x="27975" y="232318"/>
                  </a:lnTo>
                  <a:lnTo>
                    <a:pt x="21315" y="220440"/>
                  </a:lnTo>
                  <a:lnTo>
                    <a:pt x="14654" y="207243"/>
                  </a:lnTo>
                  <a:lnTo>
                    <a:pt x="7993" y="194045"/>
                  </a:lnTo>
                  <a:lnTo>
                    <a:pt x="5329" y="180847"/>
                  </a:lnTo>
                  <a:lnTo>
                    <a:pt x="1332" y="167650"/>
                  </a:lnTo>
                  <a:lnTo>
                    <a:pt x="0" y="153132"/>
                  </a:lnTo>
                  <a:lnTo>
                    <a:pt x="0" y="138615"/>
                  </a:lnTo>
                  <a:lnTo>
                    <a:pt x="1332" y="124097"/>
                  </a:lnTo>
                  <a:lnTo>
                    <a:pt x="5329" y="110899"/>
                  </a:lnTo>
                  <a:lnTo>
                    <a:pt x="7993" y="97702"/>
                  </a:lnTo>
                  <a:lnTo>
                    <a:pt x="14654" y="84504"/>
                  </a:lnTo>
                  <a:lnTo>
                    <a:pt x="21315" y="72626"/>
                  </a:lnTo>
                  <a:lnTo>
                    <a:pt x="27975" y="62068"/>
                  </a:lnTo>
                  <a:lnTo>
                    <a:pt x="38633" y="50190"/>
                  </a:lnTo>
                  <a:lnTo>
                    <a:pt x="46626" y="39632"/>
                  </a:lnTo>
                  <a:lnTo>
                    <a:pt x="58615" y="31713"/>
                  </a:lnTo>
                  <a:lnTo>
                    <a:pt x="69273" y="23794"/>
                  </a:lnTo>
                  <a:lnTo>
                    <a:pt x="81262" y="17196"/>
                  </a:lnTo>
                  <a:lnTo>
                    <a:pt x="94584" y="11917"/>
                  </a:lnTo>
                  <a:lnTo>
                    <a:pt x="107906" y="6637"/>
                  </a:lnTo>
                  <a:close/>
                  <a:moveTo>
                    <a:pt x="796639" y="0"/>
                  </a:moveTo>
                  <a:lnTo>
                    <a:pt x="808629" y="0"/>
                  </a:lnTo>
                  <a:lnTo>
                    <a:pt x="821950" y="2654"/>
                  </a:lnTo>
                  <a:lnTo>
                    <a:pt x="831276" y="6636"/>
                  </a:lnTo>
                  <a:lnTo>
                    <a:pt x="843265" y="13272"/>
                  </a:lnTo>
                  <a:lnTo>
                    <a:pt x="851258" y="23889"/>
                  </a:lnTo>
                  <a:lnTo>
                    <a:pt x="857919" y="33180"/>
                  </a:lnTo>
                  <a:lnTo>
                    <a:pt x="863248" y="43797"/>
                  </a:lnTo>
                  <a:lnTo>
                    <a:pt x="867244" y="57069"/>
                  </a:lnTo>
                  <a:lnTo>
                    <a:pt x="867244" y="67687"/>
                  </a:lnTo>
                  <a:lnTo>
                    <a:pt x="863248" y="79632"/>
                  </a:lnTo>
                  <a:lnTo>
                    <a:pt x="860583" y="91577"/>
                  </a:lnTo>
                  <a:lnTo>
                    <a:pt x="851258" y="100867"/>
                  </a:lnTo>
                  <a:lnTo>
                    <a:pt x="680740" y="323836"/>
                  </a:lnTo>
                  <a:lnTo>
                    <a:pt x="671415" y="334454"/>
                  </a:lnTo>
                  <a:lnTo>
                    <a:pt x="659426" y="342417"/>
                  </a:lnTo>
                  <a:lnTo>
                    <a:pt x="644772" y="349053"/>
                  </a:lnTo>
                  <a:lnTo>
                    <a:pt x="643636" y="349259"/>
                  </a:lnTo>
                  <a:lnTo>
                    <a:pt x="459779" y="435267"/>
                  </a:lnTo>
                  <a:lnTo>
                    <a:pt x="483581" y="818415"/>
                  </a:lnTo>
                  <a:lnTo>
                    <a:pt x="482656" y="831366"/>
                  </a:lnTo>
                  <a:lnTo>
                    <a:pt x="548856" y="1082556"/>
                  </a:lnTo>
                  <a:lnTo>
                    <a:pt x="550131" y="1089606"/>
                  </a:lnTo>
                  <a:lnTo>
                    <a:pt x="550187" y="1089718"/>
                  </a:lnTo>
                  <a:lnTo>
                    <a:pt x="555516" y="1104372"/>
                  </a:lnTo>
                  <a:lnTo>
                    <a:pt x="556848" y="1120358"/>
                  </a:lnTo>
                  <a:lnTo>
                    <a:pt x="563509" y="1437415"/>
                  </a:lnTo>
                  <a:lnTo>
                    <a:pt x="562177" y="1453401"/>
                  </a:lnTo>
                  <a:lnTo>
                    <a:pt x="556848" y="1468055"/>
                  </a:lnTo>
                  <a:lnTo>
                    <a:pt x="550187" y="1478713"/>
                  </a:lnTo>
                  <a:lnTo>
                    <a:pt x="539530" y="1490702"/>
                  </a:lnTo>
                  <a:lnTo>
                    <a:pt x="530205" y="1501360"/>
                  </a:lnTo>
                  <a:lnTo>
                    <a:pt x="516883" y="1508020"/>
                  </a:lnTo>
                  <a:lnTo>
                    <a:pt x="502229" y="1512017"/>
                  </a:lnTo>
                  <a:lnTo>
                    <a:pt x="487575" y="1514681"/>
                  </a:lnTo>
                  <a:lnTo>
                    <a:pt x="471589" y="1512017"/>
                  </a:lnTo>
                  <a:lnTo>
                    <a:pt x="456935" y="1509353"/>
                  </a:lnTo>
                  <a:lnTo>
                    <a:pt x="443613" y="1501360"/>
                  </a:lnTo>
                  <a:lnTo>
                    <a:pt x="432956" y="1492034"/>
                  </a:lnTo>
                  <a:lnTo>
                    <a:pt x="422299" y="1481377"/>
                  </a:lnTo>
                  <a:lnTo>
                    <a:pt x="415638" y="1468055"/>
                  </a:lnTo>
                  <a:lnTo>
                    <a:pt x="410309" y="1454733"/>
                  </a:lnTo>
                  <a:lnTo>
                    <a:pt x="408977" y="1437415"/>
                  </a:lnTo>
                  <a:lnTo>
                    <a:pt x="403797" y="1130504"/>
                  </a:lnTo>
                  <a:lnTo>
                    <a:pt x="400985" y="1122730"/>
                  </a:lnTo>
                  <a:lnTo>
                    <a:pt x="350622" y="930925"/>
                  </a:lnTo>
                  <a:lnTo>
                    <a:pt x="325049" y="1102709"/>
                  </a:lnTo>
                  <a:lnTo>
                    <a:pt x="319720" y="1117439"/>
                  </a:lnTo>
                  <a:lnTo>
                    <a:pt x="316296" y="1124323"/>
                  </a:lnTo>
                  <a:lnTo>
                    <a:pt x="314392" y="1131323"/>
                  </a:lnTo>
                  <a:lnTo>
                    <a:pt x="203822" y="1430611"/>
                  </a:lnTo>
                  <a:lnTo>
                    <a:pt x="197161" y="1443972"/>
                  </a:lnTo>
                  <a:lnTo>
                    <a:pt x="187836" y="1455997"/>
                  </a:lnTo>
                  <a:lnTo>
                    <a:pt x="175846" y="1465350"/>
                  </a:lnTo>
                  <a:lnTo>
                    <a:pt x="163857" y="1472031"/>
                  </a:lnTo>
                  <a:lnTo>
                    <a:pt x="149203" y="1477375"/>
                  </a:lnTo>
                  <a:lnTo>
                    <a:pt x="134549" y="1478711"/>
                  </a:lnTo>
                  <a:lnTo>
                    <a:pt x="119895" y="1478711"/>
                  </a:lnTo>
                  <a:lnTo>
                    <a:pt x="103909" y="1474703"/>
                  </a:lnTo>
                  <a:lnTo>
                    <a:pt x="90587" y="1468022"/>
                  </a:lnTo>
                  <a:lnTo>
                    <a:pt x="79930" y="1457333"/>
                  </a:lnTo>
                  <a:lnTo>
                    <a:pt x="69273" y="1447981"/>
                  </a:lnTo>
                  <a:lnTo>
                    <a:pt x="62612" y="1434620"/>
                  </a:lnTo>
                  <a:lnTo>
                    <a:pt x="58615" y="1418586"/>
                  </a:lnTo>
                  <a:lnTo>
                    <a:pt x="55951" y="1406561"/>
                  </a:lnTo>
                  <a:lnTo>
                    <a:pt x="55951" y="1390528"/>
                  </a:lnTo>
                  <a:lnTo>
                    <a:pt x="61280" y="1375831"/>
                  </a:lnTo>
                  <a:lnTo>
                    <a:pt x="170518" y="1076542"/>
                  </a:lnTo>
                  <a:lnTo>
                    <a:pt x="172703" y="1072889"/>
                  </a:lnTo>
                  <a:lnTo>
                    <a:pt x="204733" y="858517"/>
                  </a:lnTo>
                  <a:lnTo>
                    <a:pt x="167854" y="409898"/>
                  </a:lnTo>
                  <a:lnTo>
                    <a:pt x="167854" y="392655"/>
                  </a:lnTo>
                  <a:lnTo>
                    <a:pt x="170507" y="378065"/>
                  </a:lnTo>
                  <a:lnTo>
                    <a:pt x="177140" y="363475"/>
                  </a:lnTo>
                  <a:lnTo>
                    <a:pt x="187753" y="350212"/>
                  </a:lnTo>
                  <a:lnTo>
                    <a:pt x="191068" y="346897"/>
                  </a:lnTo>
                  <a:lnTo>
                    <a:pt x="193048" y="343701"/>
                  </a:lnTo>
                  <a:lnTo>
                    <a:pt x="202292" y="335708"/>
                  </a:lnTo>
                  <a:lnTo>
                    <a:pt x="380495" y="193657"/>
                  </a:lnTo>
                  <a:lnTo>
                    <a:pt x="446700" y="37018"/>
                  </a:lnTo>
                  <a:lnTo>
                    <a:pt x="456346" y="43850"/>
                  </a:lnTo>
                  <a:lnTo>
                    <a:pt x="478942" y="58520"/>
                  </a:lnTo>
                  <a:lnTo>
                    <a:pt x="504196" y="71857"/>
                  </a:lnTo>
                  <a:lnTo>
                    <a:pt x="529450" y="85194"/>
                  </a:lnTo>
                  <a:lnTo>
                    <a:pt x="549401" y="94202"/>
                  </a:lnTo>
                  <a:lnTo>
                    <a:pt x="483578" y="248871"/>
                  </a:lnTo>
                  <a:lnTo>
                    <a:pt x="479582" y="259604"/>
                  </a:lnTo>
                  <a:lnTo>
                    <a:pt x="473187" y="265124"/>
                  </a:lnTo>
                  <a:lnTo>
                    <a:pt x="470372" y="269100"/>
                  </a:lnTo>
                  <a:lnTo>
                    <a:pt x="462449" y="277093"/>
                  </a:lnTo>
                  <a:lnTo>
                    <a:pt x="407871" y="320984"/>
                  </a:lnTo>
                  <a:lnTo>
                    <a:pt x="409770" y="321934"/>
                  </a:lnTo>
                  <a:lnTo>
                    <a:pt x="438933" y="309991"/>
                  </a:lnTo>
                  <a:lnTo>
                    <a:pt x="559782" y="260498"/>
                  </a:lnTo>
                  <a:lnTo>
                    <a:pt x="560845" y="258803"/>
                  </a:lnTo>
                  <a:lnTo>
                    <a:pt x="755342" y="23889"/>
                  </a:lnTo>
                  <a:lnTo>
                    <a:pt x="764667" y="13272"/>
                  </a:lnTo>
                  <a:lnTo>
                    <a:pt x="773992" y="6636"/>
                  </a:lnTo>
                  <a:lnTo>
                    <a:pt x="785982" y="265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105" name="Freeform 426"/>
            <p:cNvSpPr>
              <a:spLocks/>
            </p:cNvSpPr>
            <p:nvPr/>
          </p:nvSpPr>
          <p:spPr bwMode="auto">
            <a:xfrm>
              <a:off x="4337729" y="3013263"/>
              <a:ext cx="1178975" cy="1182969"/>
            </a:xfrm>
            <a:custGeom>
              <a:avLst/>
              <a:gdLst>
                <a:gd name="T0" fmla="*/ 886 w 887"/>
                <a:gd name="T1" fmla="*/ 466 h 887"/>
                <a:gd name="T2" fmla="*/ 879 w 887"/>
                <a:gd name="T3" fmla="*/ 533 h 887"/>
                <a:gd name="T4" fmla="*/ 860 w 887"/>
                <a:gd name="T5" fmla="*/ 596 h 887"/>
                <a:gd name="T6" fmla="*/ 834 w 887"/>
                <a:gd name="T7" fmla="*/ 655 h 887"/>
                <a:gd name="T8" fmla="*/ 799 w 887"/>
                <a:gd name="T9" fmla="*/ 709 h 887"/>
                <a:gd name="T10" fmla="*/ 757 w 887"/>
                <a:gd name="T11" fmla="*/ 757 h 887"/>
                <a:gd name="T12" fmla="*/ 709 w 887"/>
                <a:gd name="T13" fmla="*/ 800 h 887"/>
                <a:gd name="T14" fmla="*/ 655 w 887"/>
                <a:gd name="T15" fmla="*/ 833 h 887"/>
                <a:gd name="T16" fmla="*/ 596 w 887"/>
                <a:gd name="T17" fmla="*/ 861 h 887"/>
                <a:gd name="T18" fmla="*/ 533 w 887"/>
                <a:gd name="T19" fmla="*/ 878 h 887"/>
                <a:gd name="T20" fmla="*/ 467 w 887"/>
                <a:gd name="T21" fmla="*/ 887 h 887"/>
                <a:gd name="T22" fmla="*/ 421 w 887"/>
                <a:gd name="T23" fmla="*/ 887 h 887"/>
                <a:gd name="T24" fmla="*/ 354 w 887"/>
                <a:gd name="T25" fmla="*/ 878 h 887"/>
                <a:gd name="T26" fmla="*/ 290 w 887"/>
                <a:gd name="T27" fmla="*/ 861 h 887"/>
                <a:gd name="T28" fmla="*/ 232 w 887"/>
                <a:gd name="T29" fmla="*/ 833 h 887"/>
                <a:gd name="T30" fmla="*/ 179 w 887"/>
                <a:gd name="T31" fmla="*/ 800 h 887"/>
                <a:gd name="T32" fmla="*/ 130 w 887"/>
                <a:gd name="T33" fmla="*/ 757 h 887"/>
                <a:gd name="T34" fmla="*/ 88 w 887"/>
                <a:gd name="T35" fmla="*/ 709 h 887"/>
                <a:gd name="T36" fmla="*/ 53 w 887"/>
                <a:gd name="T37" fmla="*/ 655 h 887"/>
                <a:gd name="T38" fmla="*/ 27 w 887"/>
                <a:gd name="T39" fmla="*/ 596 h 887"/>
                <a:gd name="T40" fmla="*/ 10 w 887"/>
                <a:gd name="T41" fmla="*/ 533 h 887"/>
                <a:gd name="T42" fmla="*/ 1 w 887"/>
                <a:gd name="T43" fmla="*/ 466 h 887"/>
                <a:gd name="T44" fmla="*/ 1 w 887"/>
                <a:gd name="T45" fmla="*/ 420 h 887"/>
                <a:gd name="T46" fmla="*/ 10 w 887"/>
                <a:gd name="T47" fmla="*/ 354 h 887"/>
                <a:gd name="T48" fmla="*/ 27 w 887"/>
                <a:gd name="T49" fmla="*/ 291 h 887"/>
                <a:gd name="T50" fmla="*/ 53 w 887"/>
                <a:gd name="T51" fmla="*/ 232 h 887"/>
                <a:gd name="T52" fmla="*/ 88 w 887"/>
                <a:gd name="T53" fmla="*/ 178 h 887"/>
                <a:gd name="T54" fmla="*/ 130 w 887"/>
                <a:gd name="T55" fmla="*/ 129 h 887"/>
                <a:gd name="T56" fmla="*/ 179 w 887"/>
                <a:gd name="T57" fmla="*/ 88 h 887"/>
                <a:gd name="T58" fmla="*/ 232 w 887"/>
                <a:gd name="T59" fmla="*/ 53 h 887"/>
                <a:gd name="T60" fmla="*/ 290 w 887"/>
                <a:gd name="T61" fmla="*/ 27 h 887"/>
                <a:gd name="T62" fmla="*/ 354 w 887"/>
                <a:gd name="T63" fmla="*/ 9 h 887"/>
                <a:gd name="T64" fmla="*/ 421 w 887"/>
                <a:gd name="T65" fmla="*/ 0 h 887"/>
                <a:gd name="T66" fmla="*/ 467 w 887"/>
                <a:gd name="T67" fmla="*/ 0 h 887"/>
                <a:gd name="T68" fmla="*/ 533 w 887"/>
                <a:gd name="T69" fmla="*/ 9 h 887"/>
                <a:gd name="T70" fmla="*/ 596 w 887"/>
                <a:gd name="T71" fmla="*/ 27 h 887"/>
                <a:gd name="T72" fmla="*/ 655 w 887"/>
                <a:gd name="T73" fmla="*/ 53 h 887"/>
                <a:gd name="T74" fmla="*/ 709 w 887"/>
                <a:gd name="T75" fmla="*/ 88 h 887"/>
                <a:gd name="T76" fmla="*/ 757 w 887"/>
                <a:gd name="T77" fmla="*/ 129 h 887"/>
                <a:gd name="T78" fmla="*/ 799 w 887"/>
                <a:gd name="T79" fmla="*/ 178 h 887"/>
                <a:gd name="T80" fmla="*/ 834 w 887"/>
                <a:gd name="T81" fmla="*/ 232 h 887"/>
                <a:gd name="T82" fmla="*/ 860 w 887"/>
                <a:gd name="T83" fmla="*/ 291 h 887"/>
                <a:gd name="T84" fmla="*/ 879 w 887"/>
                <a:gd name="T85" fmla="*/ 354 h 887"/>
                <a:gd name="T86" fmla="*/ 886 w 887"/>
                <a:gd name="T87" fmla="*/ 420 h 8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87" h="887">
                  <a:moveTo>
                    <a:pt x="887" y="444"/>
                  </a:moveTo>
                  <a:lnTo>
                    <a:pt x="887" y="444"/>
                  </a:lnTo>
                  <a:lnTo>
                    <a:pt x="886" y="466"/>
                  </a:lnTo>
                  <a:lnTo>
                    <a:pt x="885" y="489"/>
                  </a:lnTo>
                  <a:lnTo>
                    <a:pt x="882" y="511"/>
                  </a:lnTo>
                  <a:lnTo>
                    <a:pt x="879" y="533"/>
                  </a:lnTo>
                  <a:lnTo>
                    <a:pt x="874" y="555"/>
                  </a:lnTo>
                  <a:lnTo>
                    <a:pt x="867" y="576"/>
                  </a:lnTo>
                  <a:lnTo>
                    <a:pt x="860" y="596"/>
                  </a:lnTo>
                  <a:lnTo>
                    <a:pt x="852" y="617"/>
                  </a:lnTo>
                  <a:lnTo>
                    <a:pt x="844" y="635"/>
                  </a:lnTo>
                  <a:lnTo>
                    <a:pt x="834" y="655"/>
                  </a:lnTo>
                  <a:lnTo>
                    <a:pt x="823" y="674"/>
                  </a:lnTo>
                  <a:lnTo>
                    <a:pt x="811" y="691"/>
                  </a:lnTo>
                  <a:lnTo>
                    <a:pt x="799" y="709"/>
                  </a:lnTo>
                  <a:lnTo>
                    <a:pt x="785" y="726"/>
                  </a:lnTo>
                  <a:lnTo>
                    <a:pt x="772" y="742"/>
                  </a:lnTo>
                  <a:lnTo>
                    <a:pt x="757" y="757"/>
                  </a:lnTo>
                  <a:lnTo>
                    <a:pt x="742" y="772"/>
                  </a:lnTo>
                  <a:lnTo>
                    <a:pt x="726" y="786"/>
                  </a:lnTo>
                  <a:lnTo>
                    <a:pt x="709" y="800"/>
                  </a:lnTo>
                  <a:lnTo>
                    <a:pt x="692" y="812"/>
                  </a:lnTo>
                  <a:lnTo>
                    <a:pt x="673" y="823"/>
                  </a:lnTo>
                  <a:lnTo>
                    <a:pt x="655" y="833"/>
                  </a:lnTo>
                  <a:lnTo>
                    <a:pt x="636" y="843"/>
                  </a:lnTo>
                  <a:lnTo>
                    <a:pt x="616" y="852"/>
                  </a:lnTo>
                  <a:lnTo>
                    <a:pt x="596" y="861"/>
                  </a:lnTo>
                  <a:lnTo>
                    <a:pt x="575" y="867"/>
                  </a:lnTo>
                  <a:lnTo>
                    <a:pt x="554" y="873"/>
                  </a:lnTo>
                  <a:lnTo>
                    <a:pt x="533" y="878"/>
                  </a:lnTo>
                  <a:lnTo>
                    <a:pt x="511" y="882"/>
                  </a:lnTo>
                  <a:lnTo>
                    <a:pt x="489" y="885"/>
                  </a:lnTo>
                  <a:lnTo>
                    <a:pt x="467" y="887"/>
                  </a:lnTo>
                  <a:lnTo>
                    <a:pt x="443" y="887"/>
                  </a:lnTo>
                  <a:lnTo>
                    <a:pt x="443" y="887"/>
                  </a:lnTo>
                  <a:lnTo>
                    <a:pt x="421" y="887"/>
                  </a:lnTo>
                  <a:lnTo>
                    <a:pt x="399" y="885"/>
                  </a:lnTo>
                  <a:lnTo>
                    <a:pt x="376" y="882"/>
                  </a:lnTo>
                  <a:lnTo>
                    <a:pt x="354" y="878"/>
                  </a:lnTo>
                  <a:lnTo>
                    <a:pt x="333" y="873"/>
                  </a:lnTo>
                  <a:lnTo>
                    <a:pt x="312" y="867"/>
                  </a:lnTo>
                  <a:lnTo>
                    <a:pt x="290" y="861"/>
                  </a:lnTo>
                  <a:lnTo>
                    <a:pt x="271" y="852"/>
                  </a:lnTo>
                  <a:lnTo>
                    <a:pt x="251" y="843"/>
                  </a:lnTo>
                  <a:lnTo>
                    <a:pt x="232" y="833"/>
                  </a:lnTo>
                  <a:lnTo>
                    <a:pt x="213" y="823"/>
                  </a:lnTo>
                  <a:lnTo>
                    <a:pt x="196" y="812"/>
                  </a:lnTo>
                  <a:lnTo>
                    <a:pt x="179" y="800"/>
                  </a:lnTo>
                  <a:lnTo>
                    <a:pt x="161" y="786"/>
                  </a:lnTo>
                  <a:lnTo>
                    <a:pt x="145" y="772"/>
                  </a:lnTo>
                  <a:lnTo>
                    <a:pt x="130" y="757"/>
                  </a:lnTo>
                  <a:lnTo>
                    <a:pt x="115" y="742"/>
                  </a:lnTo>
                  <a:lnTo>
                    <a:pt x="102" y="726"/>
                  </a:lnTo>
                  <a:lnTo>
                    <a:pt x="88" y="709"/>
                  </a:lnTo>
                  <a:lnTo>
                    <a:pt x="75" y="691"/>
                  </a:lnTo>
                  <a:lnTo>
                    <a:pt x="64" y="674"/>
                  </a:lnTo>
                  <a:lnTo>
                    <a:pt x="53" y="655"/>
                  </a:lnTo>
                  <a:lnTo>
                    <a:pt x="44" y="635"/>
                  </a:lnTo>
                  <a:lnTo>
                    <a:pt x="34" y="617"/>
                  </a:lnTo>
                  <a:lnTo>
                    <a:pt x="27" y="596"/>
                  </a:lnTo>
                  <a:lnTo>
                    <a:pt x="19" y="576"/>
                  </a:lnTo>
                  <a:lnTo>
                    <a:pt x="14" y="555"/>
                  </a:lnTo>
                  <a:lnTo>
                    <a:pt x="10" y="533"/>
                  </a:lnTo>
                  <a:lnTo>
                    <a:pt x="5" y="511"/>
                  </a:lnTo>
                  <a:lnTo>
                    <a:pt x="2" y="489"/>
                  </a:lnTo>
                  <a:lnTo>
                    <a:pt x="1" y="466"/>
                  </a:lnTo>
                  <a:lnTo>
                    <a:pt x="0" y="444"/>
                  </a:lnTo>
                  <a:lnTo>
                    <a:pt x="0" y="444"/>
                  </a:lnTo>
                  <a:lnTo>
                    <a:pt x="1" y="420"/>
                  </a:lnTo>
                  <a:lnTo>
                    <a:pt x="2" y="398"/>
                  </a:lnTo>
                  <a:lnTo>
                    <a:pt x="5" y="375"/>
                  </a:lnTo>
                  <a:lnTo>
                    <a:pt x="10" y="354"/>
                  </a:lnTo>
                  <a:lnTo>
                    <a:pt x="14" y="333"/>
                  </a:lnTo>
                  <a:lnTo>
                    <a:pt x="19" y="312"/>
                  </a:lnTo>
                  <a:lnTo>
                    <a:pt x="27" y="291"/>
                  </a:lnTo>
                  <a:lnTo>
                    <a:pt x="34" y="271"/>
                  </a:lnTo>
                  <a:lnTo>
                    <a:pt x="44" y="251"/>
                  </a:lnTo>
                  <a:lnTo>
                    <a:pt x="53" y="232"/>
                  </a:lnTo>
                  <a:lnTo>
                    <a:pt x="64" y="214"/>
                  </a:lnTo>
                  <a:lnTo>
                    <a:pt x="75" y="195"/>
                  </a:lnTo>
                  <a:lnTo>
                    <a:pt x="88" y="178"/>
                  </a:lnTo>
                  <a:lnTo>
                    <a:pt x="102" y="162"/>
                  </a:lnTo>
                  <a:lnTo>
                    <a:pt x="115" y="145"/>
                  </a:lnTo>
                  <a:lnTo>
                    <a:pt x="130" y="129"/>
                  </a:lnTo>
                  <a:lnTo>
                    <a:pt x="145" y="116"/>
                  </a:lnTo>
                  <a:lnTo>
                    <a:pt x="161" y="101"/>
                  </a:lnTo>
                  <a:lnTo>
                    <a:pt x="179" y="88"/>
                  </a:lnTo>
                  <a:lnTo>
                    <a:pt x="196" y="76"/>
                  </a:lnTo>
                  <a:lnTo>
                    <a:pt x="213" y="65"/>
                  </a:lnTo>
                  <a:lnTo>
                    <a:pt x="232" y="53"/>
                  </a:lnTo>
                  <a:lnTo>
                    <a:pt x="251" y="43"/>
                  </a:lnTo>
                  <a:lnTo>
                    <a:pt x="271" y="35"/>
                  </a:lnTo>
                  <a:lnTo>
                    <a:pt x="290" y="27"/>
                  </a:lnTo>
                  <a:lnTo>
                    <a:pt x="312" y="20"/>
                  </a:lnTo>
                  <a:lnTo>
                    <a:pt x="333" y="14"/>
                  </a:lnTo>
                  <a:lnTo>
                    <a:pt x="354" y="9"/>
                  </a:lnTo>
                  <a:lnTo>
                    <a:pt x="376" y="5"/>
                  </a:lnTo>
                  <a:lnTo>
                    <a:pt x="399" y="2"/>
                  </a:lnTo>
                  <a:lnTo>
                    <a:pt x="421" y="0"/>
                  </a:lnTo>
                  <a:lnTo>
                    <a:pt x="443" y="0"/>
                  </a:lnTo>
                  <a:lnTo>
                    <a:pt x="443" y="0"/>
                  </a:lnTo>
                  <a:lnTo>
                    <a:pt x="467" y="0"/>
                  </a:lnTo>
                  <a:lnTo>
                    <a:pt x="489" y="2"/>
                  </a:lnTo>
                  <a:lnTo>
                    <a:pt x="511" y="5"/>
                  </a:lnTo>
                  <a:lnTo>
                    <a:pt x="533" y="9"/>
                  </a:lnTo>
                  <a:lnTo>
                    <a:pt x="554" y="14"/>
                  </a:lnTo>
                  <a:lnTo>
                    <a:pt x="575" y="20"/>
                  </a:lnTo>
                  <a:lnTo>
                    <a:pt x="596" y="27"/>
                  </a:lnTo>
                  <a:lnTo>
                    <a:pt x="616" y="35"/>
                  </a:lnTo>
                  <a:lnTo>
                    <a:pt x="636" y="43"/>
                  </a:lnTo>
                  <a:lnTo>
                    <a:pt x="655" y="53"/>
                  </a:lnTo>
                  <a:lnTo>
                    <a:pt x="673" y="65"/>
                  </a:lnTo>
                  <a:lnTo>
                    <a:pt x="692" y="76"/>
                  </a:lnTo>
                  <a:lnTo>
                    <a:pt x="709" y="88"/>
                  </a:lnTo>
                  <a:lnTo>
                    <a:pt x="726" y="101"/>
                  </a:lnTo>
                  <a:lnTo>
                    <a:pt x="742" y="116"/>
                  </a:lnTo>
                  <a:lnTo>
                    <a:pt x="757" y="129"/>
                  </a:lnTo>
                  <a:lnTo>
                    <a:pt x="772" y="145"/>
                  </a:lnTo>
                  <a:lnTo>
                    <a:pt x="785" y="162"/>
                  </a:lnTo>
                  <a:lnTo>
                    <a:pt x="799" y="178"/>
                  </a:lnTo>
                  <a:lnTo>
                    <a:pt x="811" y="195"/>
                  </a:lnTo>
                  <a:lnTo>
                    <a:pt x="823" y="214"/>
                  </a:lnTo>
                  <a:lnTo>
                    <a:pt x="834" y="232"/>
                  </a:lnTo>
                  <a:lnTo>
                    <a:pt x="844" y="251"/>
                  </a:lnTo>
                  <a:lnTo>
                    <a:pt x="852" y="271"/>
                  </a:lnTo>
                  <a:lnTo>
                    <a:pt x="860" y="291"/>
                  </a:lnTo>
                  <a:lnTo>
                    <a:pt x="867" y="312"/>
                  </a:lnTo>
                  <a:lnTo>
                    <a:pt x="874" y="333"/>
                  </a:lnTo>
                  <a:lnTo>
                    <a:pt x="879" y="354"/>
                  </a:lnTo>
                  <a:lnTo>
                    <a:pt x="882" y="375"/>
                  </a:lnTo>
                  <a:lnTo>
                    <a:pt x="885" y="398"/>
                  </a:lnTo>
                  <a:lnTo>
                    <a:pt x="886" y="420"/>
                  </a:lnTo>
                  <a:lnTo>
                    <a:pt x="887" y="444"/>
                  </a:lnTo>
                </a:path>
              </a:pathLst>
            </a:cu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Titillium" panose="00000500000000000000" pitchFamily="50" charset="0"/>
              </a:endParaRPr>
            </a:p>
          </p:txBody>
        </p:sp>
      </p:grpSp>
      <p:cxnSp>
        <p:nvCxnSpPr>
          <p:cNvPr id="3" name="Straight Connector 2"/>
          <p:cNvCxnSpPr/>
          <p:nvPr/>
        </p:nvCxnSpPr>
        <p:spPr>
          <a:xfrm flipH="1">
            <a:off x="876300" y="3604747"/>
            <a:ext cx="326560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6865333" y="2368041"/>
            <a:ext cx="326560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3"/>
          <p:cNvSpPr txBox="1">
            <a:spLocks/>
          </p:cNvSpPr>
          <p:nvPr/>
        </p:nvSpPr>
        <p:spPr>
          <a:xfrm>
            <a:off x="918260" y="3290978"/>
            <a:ext cx="2817068" cy="202363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/>
            <a:r>
              <a:rPr lang="en-US" b="1" spc="600" dirty="0">
                <a:solidFill>
                  <a:schemeClr val="accent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API</a:t>
            </a:r>
          </a:p>
          <a:p>
            <a:pPr algn="l">
              <a:lnSpc>
                <a:spcPct val="150000"/>
              </a:lnSpc>
            </a:pPr>
            <a:br>
              <a:rPr lang="en-US" sz="1100" dirty="0">
                <a:solidFill>
                  <a:schemeClr val="bg1">
                    <a:lumMod val="50000"/>
                  </a:schemeClr>
                </a:solidFill>
                <a:latin typeface="Titillium" panose="00000500000000000000" pitchFamily="50" charset="0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Lato "/>
              </a:rPr>
              <a:t>GOOGLE MAP </a:t>
            </a:r>
          </a:p>
          <a:p>
            <a:pPr algn="l">
              <a:lnSpc>
                <a:spcPct val="150000"/>
              </a:lnSpc>
            </a:pP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Lato "/>
              </a:rPr>
              <a:t>FACEBOOK4J</a:t>
            </a:r>
          </a:p>
          <a:p>
            <a:pPr algn="l">
              <a:lnSpc>
                <a:spcPct val="150000"/>
              </a:lnSpc>
            </a:pP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Lato "/>
              </a:rPr>
              <a:t>TWITTER4J</a:t>
            </a:r>
          </a:p>
          <a:p>
            <a:pPr algn="l">
              <a:lnSpc>
                <a:spcPct val="150000"/>
              </a:lnSpc>
            </a:pP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Lato "/>
              </a:rPr>
              <a:t>MAIL </a:t>
            </a:r>
          </a:p>
          <a:p>
            <a:pPr algn="l">
              <a:lnSpc>
                <a:spcPct val="150000"/>
              </a:lnSpc>
            </a:pP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Lato "/>
              </a:rPr>
              <a:t>PDF </a:t>
            </a:r>
          </a:p>
          <a:p>
            <a:pPr algn="l">
              <a:lnSpc>
                <a:spcPct val="150000"/>
              </a:lnSpc>
            </a:pP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Lato "/>
              </a:rPr>
              <a:t>HISTORIQUE</a:t>
            </a:r>
          </a:p>
        </p:txBody>
      </p:sp>
      <p:sp>
        <p:nvSpPr>
          <p:cNvPr id="25" name="Text Placeholder 3"/>
          <p:cNvSpPr txBox="1">
            <a:spLocks/>
          </p:cNvSpPr>
          <p:nvPr/>
        </p:nvSpPr>
        <p:spPr>
          <a:xfrm>
            <a:off x="6997219" y="1975009"/>
            <a:ext cx="3133716" cy="126188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/>
            <a:r>
              <a:rPr lang="en-US" b="1" spc="600" dirty="0">
                <a:solidFill>
                  <a:schemeClr val="accent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FRAMEWORK</a:t>
            </a:r>
          </a:p>
          <a:p>
            <a:pPr algn="r">
              <a:lnSpc>
                <a:spcPct val="150000"/>
              </a:lnSpc>
            </a:pPr>
            <a:br>
              <a:rPr lang="en-US" sz="1100" dirty="0">
                <a:solidFill>
                  <a:schemeClr val="bg1">
                    <a:lumMod val="50000"/>
                  </a:schemeClr>
                </a:solidFill>
                <a:latin typeface="Titillium" panose="00000500000000000000" pitchFamily="50" charset="0"/>
              </a:rPr>
            </a:b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Titillium" panose="00000500000000000000" pitchFamily="50" charset="0"/>
              </a:rPr>
              <a:t>		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Lato "/>
                <a:ea typeface="Lato Black" panose="020F0502020204030203" pitchFamily="34" charset="0"/>
                <a:cs typeface="Lato Black" panose="020F0502020204030203" pitchFamily="34" charset="0"/>
              </a:rPr>
              <a:t>SYMPHONY</a:t>
            </a:r>
          </a:p>
          <a:p>
            <a:pPr algn="r">
              <a:lnSpc>
                <a:spcPct val="150000"/>
              </a:lnSpc>
            </a:pP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Lato "/>
                <a:ea typeface="Lato Black" panose="020F0502020204030203" pitchFamily="34" charset="0"/>
                <a:cs typeface="Lato Black" panose="020F0502020204030203" pitchFamily="34" charset="0"/>
              </a:rPr>
              <a:t>		  CODENAMEONE</a:t>
            </a:r>
          </a:p>
          <a:p>
            <a:pPr algn="r">
              <a:lnSpc>
                <a:spcPct val="150000"/>
              </a:lnSpc>
            </a:pP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Lato "/>
                <a:ea typeface="Lato Black" panose="020F0502020204030203" pitchFamily="34" charset="0"/>
                <a:cs typeface="Lato Black" panose="020F0502020204030203" pitchFamily="34" charset="0"/>
              </a:rPr>
              <a:t>		JAVAFX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769680" y="3117223"/>
            <a:ext cx="1580224" cy="2345659"/>
            <a:chOff x="6727848" y="3253345"/>
            <a:chExt cx="1580224" cy="2345659"/>
          </a:xfrm>
        </p:grpSpPr>
        <p:sp>
          <p:nvSpPr>
            <p:cNvPr id="106" name="Freeform 432"/>
            <p:cNvSpPr>
              <a:spLocks/>
            </p:cNvSpPr>
            <p:nvPr/>
          </p:nvSpPr>
          <p:spPr bwMode="auto">
            <a:xfrm>
              <a:off x="6727848" y="3253345"/>
              <a:ext cx="1182969" cy="1182969"/>
            </a:xfrm>
            <a:custGeom>
              <a:avLst/>
              <a:gdLst>
                <a:gd name="T0" fmla="*/ 0 w 887"/>
                <a:gd name="T1" fmla="*/ 466 h 886"/>
                <a:gd name="T2" fmla="*/ 9 w 887"/>
                <a:gd name="T3" fmla="*/ 532 h 886"/>
                <a:gd name="T4" fmla="*/ 28 w 887"/>
                <a:gd name="T5" fmla="*/ 595 h 886"/>
                <a:gd name="T6" fmla="*/ 54 w 887"/>
                <a:gd name="T7" fmla="*/ 655 h 886"/>
                <a:gd name="T8" fmla="*/ 89 w 887"/>
                <a:gd name="T9" fmla="*/ 709 h 886"/>
                <a:gd name="T10" fmla="*/ 130 w 887"/>
                <a:gd name="T11" fmla="*/ 757 h 886"/>
                <a:gd name="T12" fmla="*/ 178 w 887"/>
                <a:gd name="T13" fmla="*/ 798 h 886"/>
                <a:gd name="T14" fmla="*/ 233 w 887"/>
                <a:gd name="T15" fmla="*/ 833 h 886"/>
                <a:gd name="T16" fmla="*/ 291 w 887"/>
                <a:gd name="T17" fmla="*/ 860 h 886"/>
                <a:gd name="T18" fmla="*/ 355 w 887"/>
                <a:gd name="T19" fmla="*/ 878 h 886"/>
                <a:gd name="T20" fmla="*/ 421 w 887"/>
                <a:gd name="T21" fmla="*/ 886 h 886"/>
                <a:gd name="T22" fmla="*/ 467 w 887"/>
                <a:gd name="T23" fmla="*/ 886 h 886"/>
                <a:gd name="T24" fmla="*/ 534 w 887"/>
                <a:gd name="T25" fmla="*/ 878 h 886"/>
                <a:gd name="T26" fmla="*/ 596 w 887"/>
                <a:gd name="T27" fmla="*/ 860 h 886"/>
                <a:gd name="T28" fmla="*/ 656 w 887"/>
                <a:gd name="T29" fmla="*/ 833 h 886"/>
                <a:gd name="T30" fmla="*/ 709 w 887"/>
                <a:gd name="T31" fmla="*/ 798 h 886"/>
                <a:gd name="T32" fmla="*/ 757 w 887"/>
                <a:gd name="T33" fmla="*/ 757 h 886"/>
                <a:gd name="T34" fmla="*/ 800 w 887"/>
                <a:gd name="T35" fmla="*/ 709 h 886"/>
                <a:gd name="T36" fmla="*/ 833 w 887"/>
                <a:gd name="T37" fmla="*/ 655 h 886"/>
                <a:gd name="T38" fmla="*/ 861 w 887"/>
                <a:gd name="T39" fmla="*/ 595 h 886"/>
                <a:gd name="T40" fmla="*/ 878 w 887"/>
                <a:gd name="T41" fmla="*/ 532 h 886"/>
                <a:gd name="T42" fmla="*/ 887 w 887"/>
                <a:gd name="T43" fmla="*/ 466 h 886"/>
                <a:gd name="T44" fmla="*/ 887 w 887"/>
                <a:gd name="T45" fmla="*/ 420 h 886"/>
                <a:gd name="T46" fmla="*/ 878 w 887"/>
                <a:gd name="T47" fmla="*/ 354 h 886"/>
                <a:gd name="T48" fmla="*/ 861 w 887"/>
                <a:gd name="T49" fmla="*/ 291 h 886"/>
                <a:gd name="T50" fmla="*/ 833 w 887"/>
                <a:gd name="T51" fmla="*/ 232 h 886"/>
                <a:gd name="T52" fmla="*/ 800 w 887"/>
                <a:gd name="T53" fmla="*/ 177 h 886"/>
                <a:gd name="T54" fmla="*/ 757 w 887"/>
                <a:gd name="T55" fmla="*/ 129 h 886"/>
                <a:gd name="T56" fmla="*/ 709 w 887"/>
                <a:gd name="T57" fmla="*/ 88 h 886"/>
                <a:gd name="T58" fmla="*/ 656 w 887"/>
                <a:gd name="T59" fmla="*/ 53 h 886"/>
                <a:gd name="T60" fmla="*/ 596 w 887"/>
                <a:gd name="T61" fmla="*/ 26 h 886"/>
                <a:gd name="T62" fmla="*/ 534 w 887"/>
                <a:gd name="T63" fmla="*/ 8 h 886"/>
                <a:gd name="T64" fmla="*/ 467 w 887"/>
                <a:gd name="T65" fmla="*/ 0 h 886"/>
                <a:gd name="T66" fmla="*/ 421 w 887"/>
                <a:gd name="T67" fmla="*/ 0 h 886"/>
                <a:gd name="T68" fmla="*/ 355 w 887"/>
                <a:gd name="T69" fmla="*/ 8 h 886"/>
                <a:gd name="T70" fmla="*/ 291 w 887"/>
                <a:gd name="T71" fmla="*/ 26 h 886"/>
                <a:gd name="T72" fmla="*/ 233 w 887"/>
                <a:gd name="T73" fmla="*/ 53 h 886"/>
                <a:gd name="T74" fmla="*/ 178 w 887"/>
                <a:gd name="T75" fmla="*/ 88 h 886"/>
                <a:gd name="T76" fmla="*/ 130 w 887"/>
                <a:gd name="T77" fmla="*/ 129 h 886"/>
                <a:gd name="T78" fmla="*/ 89 w 887"/>
                <a:gd name="T79" fmla="*/ 177 h 886"/>
                <a:gd name="T80" fmla="*/ 54 w 887"/>
                <a:gd name="T81" fmla="*/ 232 h 886"/>
                <a:gd name="T82" fmla="*/ 28 w 887"/>
                <a:gd name="T83" fmla="*/ 291 h 886"/>
                <a:gd name="T84" fmla="*/ 9 w 887"/>
                <a:gd name="T85" fmla="*/ 354 h 886"/>
                <a:gd name="T86" fmla="*/ 0 w 887"/>
                <a:gd name="T87" fmla="*/ 420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87" h="886">
                  <a:moveTo>
                    <a:pt x="0" y="444"/>
                  </a:moveTo>
                  <a:lnTo>
                    <a:pt x="0" y="444"/>
                  </a:lnTo>
                  <a:lnTo>
                    <a:pt x="0" y="466"/>
                  </a:lnTo>
                  <a:lnTo>
                    <a:pt x="3" y="488"/>
                  </a:lnTo>
                  <a:lnTo>
                    <a:pt x="5" y="511"/>
                  </a:lnTo>
                  <a:lnTo>
                    <a:pt x="9" y="532"/>
                  </a:lnTo>
                  <a:lnTo>
                    <a:pt x="14" y="554"/>
                  </a:lnTo>
                  <a:lnTo>
                    <a:pt x="20" y="576"/>
                  </a:lnTo>
                  <a:lnTo>
                    <a:pt x="28" y="595"/>
                  </a:lnTo>
                  <a:lnTo>
                    <a:pt x="35" y="615"/>
                  </a:lnTo>
                  <a:lnTo>
                    <a:pt x="44" y="635"/>
                  </a:lnTo>
                  <a:lnTo>
                    <a:pt x="54" y="655"/>
                  </a:lnTo>
                  <a:lnTo>
                    <a:pt x="65" y="674"/>
                  </a:lnTo>
                  <a:lnTo>
                    <a:pt x="76" y="691"/>
                  </a:lnTo>
                  <a:lnTo>
                    <a:pt x="89" y="709"/>
                  </a:lnTo>
                  <a:lnTo>
                    <a:pt x="101" y="726"/>
                  </a:lnTo>
                  <a:lnTo>
                    <a:pt x="116" y="741"/>
                  </a:lnTo>
                  <a:lnTo>
                    <a:pt x="130" y="757"/>
                  </a:lnTo>
                  <a:lnTo>
                    <a:pt x="146" y="772"/>
                  </a:lnTo>
                  <a:lnTo>
                    <a:pt x="162" y="786"/>
                  </a:lnTo>
                  <a:lnTo>
                    <a:pt x="178" y="798"/>
                  </a:lnTo>
                  <a:lnTo>
                    <a:pt x="196" y="811"/>
                  </a:lnTo>
                  <a:lnTo>
                    <a:pt x="214" y="823"/>
                  </a:lnTo>
                  <a:lnTo>
                    <a:pt x="233" y="833"/>
                  </a:lnTo>
                  <a:lnTo>
                    <a:pt x="251" y="843"/>
                  </a:lnTo>
                  <a:lnTo>
                    <a:pt x="271" y="852"/>
                  </a:lnTo>
                  <a:lnTo>
                    <a:pt x="291" y="860"/>
                  </a:lnTo>
                  <a:lnTo>
                    <a:pt x="312" y="867"/>
                  </a:lnTo>
                  <a:lnTo>
                    <a:pt x="332" y="873"/>
                  </a:lnTo>
                  <a:lnTo>
                    <a:pt x="355" y="878"/>
                  </a:lnTo>
                  <a:lnTo>
                    <a:pt x="376" y="881"/>
                  </a:lnTo>
                  <a:lnTo>
                    <a:pt x="398" y="885"/>
                  </a:lnTo>
                  <a:lnTo>
                    <a:pt x="421" y="886"/>
                  </a:lnTo>
                  <a:lnTo>
                    <a:pt x="444" y="886"/>
                  </a:lnTo>
                  <a:lnTo>
                    <a:pt x="444" y="886"/>
                  </a:lnTo>
                  <a:lnTo>
                    <a:pt x="467" y="886"/>
                  </a:lnTo>
                  <a:lnTo>
                    <a:pt x="489" y="885"/>
                  </a:lnTo>
                  <a:lnTo>
                    <a:pt x="511" y="881"/>
                  </a:lnTo>
                  <a:lnTo>
                    <a:pt x="534" y="878"/>
                  </a:lnTo>
                  <a:lnTo>
                    <a:pt x="555" y="873"/>
                  </a:lnTo>
                  <a:lnTo>
                    <a:pt x="576" y="867"/>
                  </a:lnTo>
                  <a:lnTo>
                    <a:pt x="596" y="860"/>
                  </a:lnTo>
                  <a:lnTo>
                    <a:pt x="617" y="852"/>
                  </a:lnTo>
                  <a:lnTo>
                    <a:pt x="636" y="843"/>
                  </a:lnTo>
                  <a:lnTo>
                    <a:pt x="656" y="833"/>
                  </a:lnTo>
                  <a:lnTo>
                    <a:pt x="674" y="823"/>
                  </a:lnTo>
                  <a:lnTo>
                    <a:pt x="692" y="811"/>
                  </a:lnTo>
                  <a:lnTo>
                    <a:pt x="709" y="798"/>
                  </a:lnTo>
                  <a:lnTo>
                    <a:pt x="726" y="786"/>
                  </a:lnTo>
                  <a:lnTo>
                    <a:pt x="743" y="772"/>
                  </a:lnTo>
                  <a:lnTo>
                    <a:pt x="757" y="757"/>
                  </a:lnTo>
                  <a:lnTo>
                    <a:pt x="772" y="741"/>
                  </a:lnTo>
                  <a:lnTo>
                    <a:pt x="786" y="726"/>
                  </a:lnTo>
                  <a:lnTo>
                    <a:pt x="800" y="709"/>
                  </a:lnTo>
                  <a:lnTo>
                    <a:pt x="811" y="691"/>
                  </a:lnTo>
                  <a:lnTo>
                    <a:pt x="823" y="674"/>
                  </a:lnTo>
                  <a:lnTo>
                    <a:pt x="833" y="655"/>
                  </a:lnTo>
                  <a:lnTo>
                    <a:pt x="843" y="635"/>
                  </a:lnTo>
                  <a:lnTo>
                    <a:pt x="852" y="615"/>
                  </a:lnTo>
                  <a:lnTo>
                    <a:pt x="861" y="595"/>
                  </a:lnTo>
                  <a:lnTo>
                    <a:pt x="867" y="576"/>
                  </a:lnTo>
                  <a:lnTo>
                    <a:pt x="873" y="554"/>
                  </a:lnTo>
                  <a:lnTo>
                    <a:pt x="878" y="532"/>
                  </a:lnTo>
                  <a:lnTo>
                    <a:pt x="882" y="511"/>
                  </a:lnTo>
                  <a:lnTo>
                    <a:pt x="886" y="488"/>
                  </a:lnTo>
                  <a:lnTo>
                    <a:pt x="887" y="466"/>
                  </a:lnTo>
                  <a:lnTo>
                    <a:pt x="887" y="444"/>
                  </a:lnTo>
                  <a:lnTo>
                    <a:pt x="887" y="444"/>
                  </a:lnTo>
                  <a:lnTo>
                    <a:pt x="887" y="420"/>
                  </a:lnTo>
                  <a:lnTo>
                    <a:pt x="886" y="398"/>
                  </a:lnTo>
                  <a:lnTo>
                    <a:pt x="882" y="375"/>
                  </a:lnTo>
                  <a:lnTo>
                    <a:pt x="878" y="354"/>
                  </a:lnTo>
                  <a:lnTo>
                    <a:pt x="873" y="332"/>
                  </a:lnTo>
                  <a:lnTo>
                    <a:pt x="867" y="311"/>
                  </a:lnTo>
                  <a:lnTo>
                    <a:pt x="861" y="291"/>
                  </a:lnTo>
                  <a:lnTo>
                    <a:pt x="852" y="271"/>
                  </a:lnTo>
                  <a:lnTo>
                    <a:pt x="843" y="251"/>
                  </a:lnTo>
                  <a:lnTo>
                    <a:pt x="833" y="232"/>
                  </a:lnTo>
                  <a:lnTo>
                    <a:pt x="823" y="214"/>
                  </a:lnTo>
                  <a:lnTo>
                    <a:pt x="811" y="195"/>
                  </a:lnTo>
                  <a:lnTo>
                    <a:pt x="800" y="177"/>
                  </a:lnTo>
                  <a:lnTo>
                    <a:pt x="786" y="161"/>
                  </a:lnTo>
                  <a:lnTo>
                    <a:pt x="772" y="145"/>
                  </a:lnTo>
                  <a:lnTo>
                    <a:pt x="757" y="129"/>
                  </a:lnTo>
                  <a:lnTo>
                    <a:pt x="743" y="114"/>
                  </a:lnTo>
                  <a:lnTo>
                    <a:pt x="726" y="100"/>
                  </a:lnTo>
                  <a:lnTo>
                    <a:pt x="709" y="88"/>
                  </a:lnTo>
                  <a:lnTo>
                    <a:pt x="692" y="75"/>
                  </a:lnTo>
                  <a:lnTo>
                    <a:pt x="674" y="63"/>
                  </a:lnTo>
                  <a:lnTo>
                    <a:pt x="656" y="53"/>
                  </a:lnTo>
                  <a:lnTo>
                    <a:pt x="636" y="43"/>
                  </a:lnTo>
                  <a:lnTo>
                    <a:pt x="617" y="34"/>
                  </a:lnTo>
                  <a:lnTo>
                    <a:pt x="596" y="26"/>
                  </a:lnTo>
                  <a:lnTo>
                    <a:pt x="576" y="20"/>
                  </a:lnTo>
                  <a:lnTo>
                    <a:pt x="555" y="13"/>
                  </a:lnTo>
                  <a:lnTo>
                    <a:pt x="534" y="8"/>
                  </a:lnTo>
                  <a:lnTo>
                    <a:pt x="511" y="5"/>
                  </a:lnTo>
                  <a:lnTo>
                    <a:pt x="489" y="2"/>
                  </a:lnTo>
                  <a:lnTo>
                    <a:pt x="467" y="0"/>
                  </a:lnTo>
                  <a:lnTo>
                    <a:pt x="444" y="0"/>
                  </a:lnTo>
                  <a:lnTo>
                    <a:pt x="444" y="0"/>
                  </a:lnTo>
                  <a:lnTo>
                    <a:pt x="421" y="0"/>
                  </a:lnTo>
                  <a:lnTo>
                    <a:pt x="398" y="2"/>
                  </a:lnTo>
                  <a:lnTo>
                    <a:pt x="376" y="5"/>
                  </a:lnTo>
                  <a:lnTo>
                    <a:pt x="355" y="8"/>
                  </a:lnTo>
                  <a:lnTo>
                    <a:pt x="332" y="13"/>
                  </a:lnTo>
                  <a:lnTo>
                    <a:pt x="312" y="20"/>
                  </a:lnTo>
                  <a:lnTo>
                    <a:pt x="291" y="26"/>
                  </a:lnTo>
                  <a:lnTo>
                    <a:pt x="271" y="34"/>
                  </a:lnTo>
                  <a:lnTo>
                    <a:pt x="251" y="43"/>
                  </a:lnTo>
                  <a:lnTo>
                    <a:pt x="233" y="53"/>
                  </a:lnTo>
                  <a:lnTo>
                    <a:pt x="214" y="63"/>
                  </a:lnTo>
                  <a:lnTo>
                    <a:pt x="196" y="75"/>
                  </a:lnTo>
                  <a:lnTo>
                    <a:pt x="178" y="88"/>
                  </a:lnTo>
                  <a:lnTo>
                    <a:pt x="162" y="100"/>
                  </a:lnTo>
                  <a:lnTo>
                    <a:pt x="146" y="114"/>
                  </a:lnTo>
                  <a:lnTo>
                    <a:pt x="130" y="129"/>
                  </a:lnTo>
                  <a:lnTo>
                    <a:pt x="116" y="145"/>
                  </a:lnTo>
                  <a:lnTo>
                    <a:pt x="101" y="161"/>
                  </a:lnTo>
                  <a:lnTo>
                    <a:pt x="89" y="177"/>
                  </a:lnTo>
                  <a:lnTo>
                    <a:pt x="76" y="195"/>
                  </a:lnTo>
                  <a:lnTo>
                    <a:pt x="65" y="214"/>
                  </a:lnTo>
                  <a:lnTo>
                    <a:pt x="54" y="232"/>
                  </a:lnTo>
                  <a:lnTo>
                    <a:pt x="44" y="251"/>
                  </a:lnTo>
                  <a:lnTo>
                    <a:pt x="35" y="271"/>
                  </a:lnTo>
                  <a:lnTo>
                    <a:pt x="28" y="291"/>
                  </a:lnTo>
                  <a:lnTo>
                    <a:pt x="20" y="311"/>
                  </a:lnTo>
                  <a:lnTo>
                    <a:pt x="14" y="332"/>
                  </a:lnTo>
                  <a:lnTo>
                    <a:pt x="9" y="354"/>
                  </a:lnTo>
                  <a:lnTo>
                    <a:pt x="5" y="375"/>
                  </a:lnTo>
                  <a:lnTo>
                    <a:pt x="3" y="398"/>
                  </a:lnTo>
                  <a:lnTo>
                    <a:pt x="0" y="420"/>
                  </a:lnTo>
                  <a:lnTo>
                    <a:pt x="0" y="444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Titillium" panose="00000500000000000000" pitchFamily="50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7452817" y="4112304"/>
              <a:ext cx="855255" cy="1486700"/>
            </a:xfrm>
            <a:custGeom>
              <a:avLst/>
              <a:gdLst>
                <a:gd name="connsiteX0" fmla="*/ 598146 w 855255"/>
                <a:gd name="connsiteY0" fmla="*/ 0 h 1486700"/>
                <a:gd name="connsiteX1" fmla="*/ 610136 w 855255"/>
                <a:gd name="connsiteY1" fmla="*/ 0 h 1486700"/>
                <a:gd name="connsiteX2" fmla="*/ 622125 w 855255"/>
                <a:gd name="connsiteY2" fmla="*/ 1343 h 1486700"/>
                <a:gd name="connsiteX3" fmla="*/ 632783 w 855255"/>
                <a:gd name="connsiteY3" fmla="*/ 4029 h 1486700"/>
                <a:gd name="connsiteX4" fmla="*/ 644772 w 855255"/>
                <a:gd name="connsiteY4" fmla="*/ 10743 h 1486700"/>
                <a:gd name="connsiteX5" fmla="*/ 652765 w 855255"/>
                <a:gd name="connsiteY5" fmla="*/ 18800 h 1486700"/>
                <a:gd name="connsiteX6" fmla="*/ 835273 w 855255"/>
                <a:gd name="connsiteY6" fmla="*/ 205453 h 1486700"/>
                <a:gd name="connsiteX7" fmla="*/ 843266 w 855255"/>
                <a:gd name="connsiteY7" fmla="*/ 216196 h 1486700"/>
                <a:gd name="connsiteX8" fmla="*/ 848594 w 855255"/>
                <a:gd name="connsiteY8" fmla="*/ 229624 h 1486700"/>
                <a:gd name="connsiteX9" fmla="*/ 853923 w 855255"/>
                <a:gd name="connsiteY9" fmla="*/ 244395 h 1486700"/>
                <a:gd name="connsiteX10" fmla="*/ 855255 w 855255"/>
                <a:gd name="connsiteY10" fmla="*/ 261852 h 1486700"/>
                <a:gd name="connsiteX11" fmla="*/ 855255 w 855255"/>
                <a:gd name="connsiteY11" fmla="*/ 277966 h 1486700"/>
                <a:gd name="connsiteX12" fmla="*/ 852591 w 855255"/>
                <a:gd name="connsiteY12" fmla="*/ 292737 h 1486700"/>
                <a:gd name="connsiteX13" fmla="*/ 847262 w 855255"/>
                <a:gd name="connsiteY13" fmla="*/ 304822 h 1486700"/>
                <a:gd name="connsiteX14" fmla="*/ 843266 w 855255"/>
                <a:gd name="connsiteY14" fmla="*/ 311536 h 1486700"/>
                <a:gd name="connsiteX15" fmla="*/ 839269 w 855255"/>
                <a:gd name="connsiteY15" fmla="*/ 316908 h 1486700"/>
                <a:gd name="connsiteX16" fmla="*/ 828612 w 855255"/>
                <a:gd name="connsiteY16" fmla="*/ 323622 h 1486700"/>
                <a:gd name="connsiteX17" fmla="*/ 816622 w 855255"/>
                <a:gd name="connsiteY17" fmla="*/ 330336 h 1486700"/>
                <a:gd name="connsiteX18" fmla="*/ 812092 w 855255"/>
                <a:gd name="connsiteY18" fmla="*/ 331478 h 1486700"/>
                <a:gd name="connsiteX19" fmla="*/ 705567 w 855255"/>
                <a:gd name="connsiteY19" fmla="*/ 393477 h 1486700"/>
                <a:gd name="connsiteX20" fmla="*/ 672574 w 855255"/>
                <a:gd name="connsiteY20" fmla="*/ 863062 h 1486700"/>
                <a:gd name="connsiteX21" fmla="*/ 698052 w 855255"/>
                <a:gd name="connsiteY21" fmla="*/ 1056411 h 1486700"/>
                <a:gd name="connsiteX22" fmla="*/ 699393 w 855255"/>
                <a:gd name="connsiteY22" fmla="*/ 1071065 h 1486700"/>
                <a:gd name="connsiteX23" fmla="*/ 698581 w 855255"/>
                <a:gd name="connsiteY23" fmla="*/ 1074024 h 1486700"/>
                <a:gd name="connsiteX24" fmla="*/ 699015 w 855255"/>
                <a:gd name="connsiteY24" fmla="*/ 1076394 h 1486700"/>
                <a:gd name="connsiteX25" fmla="*/ 758002 w 855255"/>
                <a:gd name="connsiteY25" fmla="*/ 1388123 h 1486700"/>
                <a:gd name="connsiteX26" fmla="*/ 759342 w 855255"/>
                <a:gd name="connsiteY26" fmla="*/ 1404109 h 1486700"/>
                <a:gd name="connsiteX27" fmla="*/ 758002 w 855255"/>
                <a:gd name="connsiteY27" fmla="*/ 1418762 h 1486700"/>
                <a:gd name="connsiteX28" fmla="*/ 752639 w 855255"/>
                <a:gd name="connsiteY28" fmla="*/ 1432084 h 1486700"/>
                <a:gd name="connsiteX29" fmla="*/ 745936 w 855255"/>
                <a:gd name="connsiteY29" fmla="*/ 1445406 h 1486700"/>
                <a:gd name="connsiteX30" fmla="*/ 735211 w 855255"/>
                <a:gd name="connsiteY30" fmla="*/ 1457395 h 1486700"/>
                <a:gd name="connsiteX31" fmla="*/ 724486 w 855255"/>
                <a:gd name="connsiteY31" fmla="*/ 1465389 h 1486700"/>
                <a:gd name="connsiteX32" fmla="*/ 711080 w 855255"/>
                <a:gd name="connsiteY32" fmla="*/ 1473382 h 1486700"/>
                <a:gd name="connsiteX33" fmla="*/ 696333 w 855255"/>
                <a:gd name="connsiteY33" fmla="*/ 1477378 h 1486700"/>
                <a:gd name="connsiteX34" fmla="*/ 680246 w 855255"/>
                <a:gd name="connsiteY34" fmla="*/ 1478710 h 1486700"/>
                <a:gd name="connsiteX35" fmla="*/ 665499 w 855255"/>
                <a:gd name="connsiteY35" fmla="*/ 1477378 h 1486700"/>
                <a:gd name="connsiteX36" fmla="*/ 650753 w 855255"/>
                <a:gd name="connsiteY36" fmla="*/ 1473382 h 1486700"/>
                <a:gd name="connsiteX37" fmla="*/ 638687 w 855255"/>
                <a:gd name="connsiteY37" fmla="*/ 1465389 h 1486700"/>
                <a:gd name="connsiteX38" fmla="*/ 627962 w 855255"/>
                <a:gd name="connsiteY38" fmla="*/ 1457395 h 1486700"/>
                <a:gd name="connsiteX39" fmla="*/ 617237 w 855255"/>
                <a:gd name="connsiteY39" fmla="*/ 1445406 h 1486700"/>
                <a:gd name="connsiteX40" fmla="*/ 610534 w 855255"/>
                <a:gd name="connsiteY40" fmla="*/ 1432084 h 1486700"/>
                <a:gd name="connsiteX41" fmla="*/ 606512 w 855255"/>
                <a:gd name="connsiteY41" fmla="*/ 1417430 h 1486700"/>
                <a:gd name="connsiteX42" fmla="*/ 548866 w 855255"/>
                <a:gd name="connsiteY42" fmla="*/ 1104370 h 1486700"/>
                <a:gd name="connsiteX43" fmla="*/ 547525 w 855255"/>
                <a:gd name="connsiteY43" fmla="*/ 1089716 h 1486700"/>
                <a:gd name="connsiteX44" fmla="*/ 547854 w 855255"/>
                <a:gd name="connsiteY44" fmla="*/ 1086119 h 1486700"/>
                <a:gd name="connsiteX45" fmla="*/ 545184 w 855255"/>
                <a:gd name="connsiteY45" fmla="*/ 1076394 h 1486700"/>
                <a:gd name="connsiteX46" fmla="*/ 527552 w 855255"/>
                <a:gd name="connsiteY46" fmla="*/ 942590 h 1486700"/>
                <a:gd name="connsiteX47" fmla="*/ 486244 w 855255"/>
                <a:gd name="connsiteY47" fmla="*/ 1098746 h 1486700"/>
                <a:gd name="connsiteX48" fmla="*/ 483498 w 855255"/>
                <a:gd name="connsiteY48" fmla="*/ 1104817 h 1486700"/>
                <a:gd name="connsiteX49" fmla="*/ 482248 w 855255"/>
                <a:gd name="connsiteY49" fmla="*/ 1118492 h 1486700"/>
                <a:gd name="connsiteX50" fmla="*/ 416971 w 855255"/>
                <a:gd name="connsiteY50" fmla="*/ 1425774 h 1486700"/>
                <a:gd name="connsiteX51" fmla="*/ 411642 w 855255"/>
                <a:gd name="connsiteY51" fmla="*/ 1441668 h 1486700"/>
                <a:gd name="connsiteX52" fmla="*/ 404982 w 855255"/>
                <a:gd name="connsiteY52" fmla="*/ 1454912 h 1486700"/>
                <a:gd name="connsiteX53" fmla="*/ 394324 w 855255"/>
                <a:gd name="connsiteY53" fmla="*/ 1465508 h 1486700"/>
                <a:gd name="connsiteX54" fmla="*/ 383667 w 855255"/>
                <a:gd name="connsiteY54" fmla="*/ 1476104 h 1486700"/>
                <a:gd name="connsiteX55" fmla="*/ 370345 w 855255"/>
                <a:gd name="connsiteY55" fmla="*/ 1482727 h 1486700"/>
                <a:gd name="connsiteX56" fmla="*/ 357023 w 855255"/>
                <a:gd name="connsiteY56" fmla="*/ 1485376 h 1486700"/>
                <a:gd name="connsiteX57" fmla="*/ 342369 w 855255"/>
                <a:gd name="connsiteY57" fmla="*/ 1486700 h 1486700"/>
                <a:gd name="connsiteX58" fmla="*/ 325051 w 855255"/>
                <a:gd name="connsiteY58" fmla="*/ 1485376 h 1486700"/>
                <a:gd name="connsiteX59" fmla="*/ 310397 w 855255"/>
                <a:gd name="connsiteY59" fmla="*/ 1482727 h 1486700"/>
                <a:gd name="connsiteX60" fmla="*/ 297075 w 855255"/>
                <a:gd name="connsiteY60" fmla="*/ 1474780 h 1486700"/>
                <a:gd name="connsiteX61" fmla="*/ 287750 w 855255"/>
                <a:gd name="connsiteY61" fmla="*/ 1464184 h 1486700"/>
                <a:gd name="connsiteX62" fmla="*/ 277092 w 855255"/>
                <a:gd name="connsiteY62" fmla="*/ 1454912 h 1486700"/>
                <a:gd name="connsiteX63" fmla="*/ 270431 w 855255"/>
                <a:gd name="connsiteY63" fmla="*/ 1441668 h 1486700"/>
                <a:gd name="connsiteX64" fmla="*/ 265102 w 855255"/>
                <a:gd name="connsiteY64" fmla="*/ 1425774 h 1486700"/>
                <a:gd name="connsiteX65" fmla="*/ 263770 w 855255"/>
                <a:gd name="connsiteY65" fmla="*/ 1411204 h 1486700"/>
                <a:gd name="connsiteX66" fmla="*/ 265102 w 855255"/>
                <a:gd name="connsiteY66" fmla="*/ 1396635 h 1486700"/>
                <a:gd name="connsiteX67" fmla="*/ 331712 w 855255"/>
                <a:gd name="connsiteY67" fmla="*/ 1088029 h 1486700"/>
                <a:gd name="connsiteX68" fmla="*/ 335708 w 855255"/>
                <a:gd name="connsiteY68" fmla="*/ 1077101 h 1486700"/>
                <a:gd name="connsiteX69" fmla="*/ 335708 w 855255"/>
                <a:gd name="connsiteY69" fmla="*/ 1075981 h 1486700"/>
                <a:gd name="connsiteX70" fmla="*/ 338373 w 855255"/>
                <a:gd name="connsiteY70" fmla="*/ 1058572 h 1486700"/>
                <a:gd name="connsiteX71" fmla="*/ 403650 w 855255"/>
                <a:gd name="connsiteY71" fmla="*/ 811806 h 1486700"/>
                <a:gd name="connsiteX72" fmla="*/ 403650 w 855255"/>
                <a:gd name="connsiteY72" fmla="*/ 569087 h 1486700"/>
                <a:gd name="connsiteX73" fmla="*/ 311393 w 855255"/>
                <a:gd name="connsiteY73" fmla="*/ 623453 h 1486700"/>
                <a:gd name="connsiteX74" fmla="*/ 311002 w 855255"/>
                <a:gd name="connsiteY74" fmla="*/ 622487 h 1486700"/>
                <a:gd name="connsiteX75" fmla="*/ 303736 w 855255"/>
                <a:gd name="connsiteY75" fmla="*/ 626120 h 1486700"/>
                <a:gd name="connsiteX76" fmla="*/ 289082 w 855255"/>
                <a:gd name="connsiteY76" fmla="*/ 630116 h 1486700"/>
                <a:gd name="connsiteX77" fmla="*/ 274428 w 855255"/>
                <a:gd name="connsiteY77" fmla="*/ 631448 h 1486700"/>
                <a:gd name="connsiteX78" fmla="*/ 258442 w 855255"/>
                <a:gd name="connsiteY78" fmla="*/ 628784 h 1486700"/>
                <a:gd name="connsiteX79" fmla="*/ 250449 w 855255"/>
                <a:gd name="connsiteY79" fmla="*/ 624787 h 1486700"/>
                <a:gd name="connsiteX80" fmla="*/ 242455 w 855255"/>
                <a:gd name="connsiteY80" fmla="*/ 622123 h 1486700"/>
                <a:gd name="connsiteX81" fmla="*/ 235795 w 855255"/>
                <a:gd name="connsiteY81" fmla="*/ 616794 h 1486700"/>
                <a:gd name="connsiteX82" fmla="*/ 227802 w 855255"/>
                <a:gd name="connsiteY82" fmla="*/ 610133 h 1486700"/>
                <a:gd name="connsiteX83" fmla="*/ 26643 w 855255"/>
                <a:gd name="connsiteY83" fmla="*/ 447609 h 1486700"/>
                <a:gd name="connsiteX84" fmla="*/ 17318 w 855255"/>
                <a:gd name="connsiteY84" fmla="*/ 439616 h 1486700"/>
                <a:gd name="connsiteX85" fmla="*/ 10657 w 855255"/>
                <a:gd name="connsiteY85" fmla="*/ 428958 h 1486700"/>
                <a:gd name="connsiteX86" fmla="*/ 5328 w 855255"/>
                <a:gd name="connsiteY86" fmla="*/ 418301 h 1486700"/>
                <a:gd name="connsiteX87" fmla="*/ 2664 w 855255"/>
                <a:gd name="connsiteY87" fmla="*/ 406311 h 1486700"/>
                <a:gd name="connsiteX88" fmla="*/ 0 w 855255"/>
                <a:gd name="connsiteY88" fmla="*/ 394322 h 1486700"/>
                <a:gd name="connsiteX89" fmla="*/ 2664 w 855255"/>
                <a:gd name="connsiteY89" fmla="*/ 383664 h 1486700"/>
                <a:gd name="connsiteX90" fmla="*/ 6661 w 855255"/>
                <a:gd name="connsiteY90" fmla="*/ 371675 h 1486700"/>
                <a:gd name="connsiteX91" fmla="*/ 13321 w 855255"/>
                <a:gd name="connsiteY91" fmla="*/ 359685 h 1486700"/>
                <a:gd name="connsiteX92" fmla="*/ 22647 w 855255"/>
                <a:gd name="connsiteY92" fmla="*/ 351692 h 1486700"/>
                <a:gd name="connsiteX93" fmla="*/ 31972 w 855255"/>
                <a:gd name="connsiteY93" fmla="*/ 343699 h 1486700"/>
                <a:gd name="connsiteX94" fmla="*/ 42629 w 855255"/>
                <a:gd name="connsiteY94" fmla="*/ 338371 h 1486700"/>
                <a:gd name="connsiteX95" fmla="*/ 53287 w 855255"/>
                <a:gd name="connsiteY95" fmla="*/ 335706 h 1486700"/>
                <a:gd name="connsiteX96" fmla="*/ 66608 w 855255"/>
                <a:gd name="connsiteY96" fmla="*/ 335706 h 1486700"/>
                <a:gd name="connsiteX97" fmla="*/ 78598 w 855255"/>
                <a:gd name="connsiteY97" fmla="*/ 337038 h 1486700"/>
                <a:gd name="connsiteX98" fmla="*/ 90588 w 855255"/>
                <a:gd name="connsiteY98" fmla="*/ 339703 h 1486700"/>
                <a:gd name="connsiteX99" fmla="*/ 99913 w 855255"/>
                <a:gd name="connsiteY99" fmla="*/ 346364 h 1486700"/>
                <a:gd name="connsiteX100" fmla="*/ 284860 w 855255"/>
                <a:gd name="connsiteY100" fmla="*/ 482923 h 1486700"/>
                <a:gd name="connsiteX101" fmla="*/ 385510 w 855255"/>
                <a:gd name="connsiteY101" fmla="*/ 431289 h 1486700"/>
                <a:gd name="connsiteX102" fmla="*/ 483451 w 855255"/>
                <a:gd name="connsiteY102" fmla="*/ 378881 h 1486700"/>
                <a:gd name="connsiteX103" fmla="*/ 498263 w 855255"/>
                <a:gd name="connsiteY103" fmla="*/ 371361 h 1486700"/>
                <a:gd name="connsiteX104" fmla="*/ 701542 w 855255"/>
                <a:gd name="connsiteY104" fmla="*/ 260448 h 1486700"/>
                <a:gd name="connsiteX105" fmla="*/ 600983 w 855255"/>
                <a:gd name="connsiteY105" fmla="*/ 149160 h 1486700"/>
                <a:gd name="connsiteX106" fmla="*/ 603476 w 855255"/>
                <a:gd name="connsiteY106" fmla="*/ 155364 h 1486700"/>
                <a:gd name="connsiteX107" fmla="*/ 607472 w 855255"/>
                <a:gd name="connsiteY107" fmla="*/ 169951 h 1486700"/>
                <a:gd name="connsiteX108" fmla="*/ 607472 w 855255"/>
                <a:gd name="connsiteY108" fmla="*/ 185863 h 1486700"/>
                <a:gd name="connsiteX109" fmla="*/ 607472 w 855255"/>
                <a:gd name="connsiteY109" fmla="*/ 200449 h 1486700"/>
                <a:gd name="connsiteX110" fmla="*/ 607472 w 855255"/>
                <a:gd name="connsiteY110" fmla="*/ 213710 h 1486700"/>
                <a:gd name="connsiteX111" fmla="*/ 603476 w 855255"/>
                <a:gd name="connsiteY111" fmla="*/ 228296 h 1486700"/>
                <a:gd name="connsiteX112" fmla="*/ 598147 w 855255"/>
                <a:gd name="connsiteY112" fmla="*/ 241556 h 1486700"/>
                <a:gd name="connsiteX113" fmla="*/ 594151 w 855255"/>
                <a:gd name="connsiteY113" fmla="*/ 254817 h 1486700"/>
                <a:gd name="connsiteX114" fmla="*/ 587490 w 855255"/>
                <a:gd name="connsiteY114" fmla="*/ 266751 h 1486700"/>
                <a:gd name="connsiteX115" fmla="*/ 578164 w 855255"/>
                <a:gd name="connsiteY115" fmla="*/ 277359 h 1486700"/>
                <a:gd name="connsiteX116" fmla="*/ 570171 w 855255"/>
                <a:gd name="connsiteY116" fmla="*/ 289294 h 1486700"/>
                <a:gd name="connsiteX117" fmla="*/ 560846 w 855255"/>
                <a:gd name="connsiteY117" fmla="*/ 298576 h 1486700"/>
                <a:gd name="connsiteX118" fmla="*/ 548857 w 855255"/>
                <a:gd name="connsiteY118" fmla="*/ 307858 h 1486700"/>
                <a:gd name="connsiteX119" fmla="*/ 536866 w 855255"/>
                <a:gd name="connsiteY119" fmla="*/ 315815 h 1486700"/>
                <a:gd name="connsiteX120" fmla="*/ 526209 w 855255"/>
                <a:gd name="connsiteY120" fmla="*/ 322445 h 1486700"/>
                <a:gd name="connsiteX121" fmla="*/ 512887 w 855255"/>
                <a:gd name="connsiteY121" fmla="*/ 327749 h 1486700"/>
                <a:gd name="connsiteX122" fmla="*/ 499565 w 855255"/>
                <a:gd name="connsiteY122" fmla="*/ 330401 h 1486700"/>
                <a:gd name="connsiteX123" fmla="*/ 486244 w 855255"/>
                <a:gd name="connsiteY123" fmla="*/ 334379 h 1486700"/>
                <a:gd name="connsiteX124" fmla="*/ 471590 w 855255"/>
                <a:gd name="connsiteY124" fmla="*/ 335705 h 1486700"/>
                <a:gd name="connsiteX125" fmla="*/ 455604 w 855255"/>
                <a:gd name="connsiteY125" fmla="*/ 335705 h 1486700"/>
                <a:gd name="connsiteX126" fmla="*/ 440950 w 855255"/>
                <a:gd name="connsiteY126" fmla="*/ 334379 h 1486700"/>
                <a:gd name="connsiteX127" fmla="*/ 427628 w 855255"/>
                <a:gd name="connsiteY127" fmla="*/ 330401 h 1486700"/>
                <a:gd name="connsiteX128" fmla="*/ 414306 w 855255"/>
                <a:gd name="connsiteY128" fmla="*/ 327749 h 1486700"/>
                <a:gd name="connsiteX129" fmla="*/ 400985 w 855255"/>
                <a:gd name="connsiteY129" fmla="*/ 321119 h 1486700"/>
                <a:gd name="connsiteX130" fmla="*/ 387663 w 855255"/>
                <a:gd name="connsiteY130" fmla="*/ 314488 h 1486700"/>
                <a:gd name="connsiteX131" fmla="*/ 377006 w 855255"/>
                <a:gd name="connsiteY131" fmla="*/ 307858 h 1486700"/>
                <a:gd name="connsiteX132" fmla="*/ 366348 w 855255"/>
                <a:gd name="connsiteY132" fmla="*/ 297250 h 1486700"/>
                <a:gd name="connsiteX133" fmla="*/ 357023 w 855255"/>
                <a:gd name="connsiteY133" fmla="*/ 287968 h 1486700"/>
                <a:gd name="connsiteX134" fmla="*/ 349030 w 855255"/>
                <a:gd name="connsiteY134" fmla="*/ 277359 h 1486700"/>
                <a:gd name="connsiteX135" fmla="*/ 339705 w 855255"/>
                <a:gd name="connsiteY135" fmla="*/ 266751 h 1486700"/>
                <a:gd name="connsiteX136" fmla="*/ 333044 w 855255"/>
                <a:gd name="connsiteY136" fmla="*/ 254817 h 1486700"/>
                <a:gd name="connsiteX137" fmla="*/ 329047 w 855255"/>
                <a:gd name="connsiteY137" fmla="*/ 241556 h 1486700"/>
                <a:gd name="connsiteX138" fmla="*/ 323719 w 855255"/>
                <a:gd name="connsiteY138" fmla="*/ 228296 h 1486700"/>
                <a:gd name="connsiteX139" fmla="*/ 322387 w 855255"/>
                <a:gd name="connsiteY139" fmla="*/ 213710 h 1486700"/>
                <a:gd name="connsiteX140" fmla="*/ 319722 w 855255"/>
                <a:gd name="connsiteY140" fmla="*/ 200449 h 1486700"/>
                <a:gd name="connsiteX141" fmla="*/ 319722 w 855255"/>
                <a:gd name="connsiteY141" fmla="*/ 185863 h 1486700"/>
                <a:gd name="connsiteX142" fmla="*/ 322387 w 855255"/>
                <a:gd name="connsiteY142" fmla="*/ 169951 h 1486700"/>
                <a:gd name="connsiteX143" fmla="*/ 323719 w 855255"/>
                <a:gd name="connsiteY143" fmla="*/ 155364 h 1486700"/>
                <a:gd name="connsiteX144" fmla="*/ 329047 w 855255"/>
                <a:gd name="connsiteY144" fmla="*/ 142104 h 1486700"/>
                <a:gd name="connsiteX145" fmla="*/ 333044 w 855255"/>
                <a:gd name="connsiteY145" fmla="*/ 128844 h 1486700"/>
                <a:gd name="connsiteX146" fmla="*/ 339705 w 855255"/>
                <a:gd name="connsiteY146" fmla="*/ 118236 h 1486700"/>
                <a:gd name="connsiteX147" fmla="*/ 349030 w 855255"/>
                <a:gd name="connsiteY147" fmla="*/ 106301 h 1486700"/>
                <a:gd name="connsiteX148" fmla="*/ 357023 w 855255"/>
                <a:gd name="connsiteY148" fmla="*/ 94367 h 1486700"/>
                <a:gd name="connsiteX149" fmla="*/ 366348 w 855255"/>
                <a:gd name="connsiteY149" fmla="*/ 86411 h 1486700"/>
                <a:gd name="connsiteX150" fmla="*/ 378338 w 855255"/>
                <a:gd name="connsiteY150" fmla="*/ 75803 h 1486700"/>
                <a:gd name="connsiteX151" fmla="*/ 390327 w 855255"/>
                <a:gd name="connsiteY151" fmla="*/ 70498 h 1486700"/>
                <a:gd name="connsiteX152" fmla="*/ 400985 w 855255"/>
                <a:gd name="connsiteY152" fmla="*/ 63868 h 1486700"/>
                <a:gd name="connsiteX153" fmla="*/ 414306 w 855255"/>
                <a:gd name="connsiteY153" fmla="*/ 57238 h 1486700"/>
                <a:gd name="connsiteX154" fmla="*/ 427628 w 855255"/>
                <a:gd name="connsiteY154" fmla="*/ 53260 h 1486700"/>
                <a:gd name="connsiteX155" fmla="*/ 440950 w 855255"/>
                <a:gd name="connsiteY155" fmla="*/ 50608 h 1486700"/>
                <a:gd name="connsiteX156" fmla="*/ 455604 w 855255"/>
                <a:gd name="connsiteY156" fmla="*/ 47956 h 1486700"/>
                <a:gd name="connsiteX157" fmla="*/ 471590 w 855255"/>
                <a:gd name="connsiteY157" fmla="*/ 47956 h 1486700"/>
                <a:gd name="connsiteX158" fmla="*/ 486244 w 855255"/>
                <a:gd name="connsiteY158" fmla="*/ 50608 h 1486700"/>
                <a:gd name="connsiteX159" fmla="*/ 499565 w 855255"/>
                <a:gd name="connsiteY159" fmla="*/ 53260 h 1486700"/>
                <a:gd name="connsiteX160" fmla="*/ 514219 w 855255"/>
                <a:gd name="connsiteY160" fmla="*/ 57238 h 1486700"/>
                <a:gd name="connsiteX161" fmla="*/ 526209 w 855255"/>
                <a:gd name="connsiteY161" fmla="*/ 63868 h 1486700"/>
                <a:gd name="connsiteX162" fmla="*/ 539531 w 855255"/>
                <a:gd name="connsiteY162" fmla="*/ 70498 h 1486700"/>
                <a:gd name="connsiteX163" fmla="*/ 545732 w 855255"/>
                <a:gd name="connsiteY163" fmla="*/ 75127 h 1486700"/>
                <a:gd name="connsiteX164" fmla="*/ 544859 w 855255"/>
                <a:gd name="connsiteY164" fmla="*/ 71170 h 1486700"/>
                <a:gd name="connsiteX165" fmla="*/ 543527 w 855255"/>
                <a:gd name="connsiteY165" fmla="*/ 57742 h 1486700"/>
                <a:gd name="connsiteX166" fmla="*/ 544859 w 855255"/>
                <a:gd name="connsiteY166" fmla="*/ 45656 h 1486700"/>
                <a:gd name="connsiteX167" fmla="*/ 550188 w 855255"/>
                <a:gd name="connsiteY167" fmla="*/ 34914 h 1486700"/>
                <a:gd name="connsiteX168" fmla="*/ 556849 w 855255"/>
                <a:gd name="connsiteY168" fmla="*/ 24171 h 1486700"/>
                <a:gd name="connsiteX169" fmla="*/ 564842 w 855255"/>
                <a:gd name="connsiteY169" fmla="*/ 14771 h 1486700"/>
                <a:gd name="connsiteX170" fmla="*/ 575499 w 855255"/>
                <a:gd name="connsiteY170" fmla="*/ 8057 h 1486700"/>
                <a:gd name="connsiteX171" fmla="*/ 587489 w 855255"/>
                <a:gd name="connsiteY171" fmla="*/ 2686 h 148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</a:cxnLst>
              <a:rect l="l" t="t" r="r" b="b"/>
              <a:pathLst>
                <a:path w="855255" h="1486700">
                  <a:moveTo>
                    <a:pt x="598146" y="0"/>
                  </a:moveTo>
                  <a:lnTo>
                    <a:pt x="610136" y="0"/>
                  </a:lnTo>
                  <a:lnTo>
                    <a:pt x="622125" y="1343"/>
                  </a:lnTo>
                  <a:lnTo>
                    <a:pt x="632783" y="4029"/>
                  </a:lnTo>
                  <a:lnTo>
                    <a:pt x="644772" y="10743"/>
                  </a:lnTo>
                  <a:lnTo>
                    <a:pt x="652765" y="18800"/>
                  </a:lnTo>
                  <a:lnTo>
                    <a:pt x="835273" y="205453"/>
                  </a:lnTo>
                  <a:lnTo>
                    <a:pt x="843266" y="216196"/>
                  </a:lnTo>
                  <a:lnTo>
                    <a:pt x="848594" y="229624"/>
                  </a:lnTo>
                  <a:lnTo>
                    <a:pt x="853923" y="244395"/>
                  </a:lnTo>
                  <a:lnTo>
                    <a:pt x="855255" y="261852"/>
                  </a:lnTo>
                  <a:lnTo>
                    <a:pt x="855255" y="277966"/>
                  </a:lnTo>
                  <a:lnTo>
                    <a:pt x="852591" y="292737"/>
                  </a:lnTo>
                  <a:lnTo>
                    <a:pt x="847262" y="304822"/>
                  </a:lnTo>
                  <a:lnTo>
                    <a:pt x="843266" y="311536"/>
                  </a:lnTo>
                  <a:lnTo>
                    <a:pt x="839269" y="316908"/>
                  </a:lnTo>
                  <a:lnTo>
                    <a:pt x="828612" y="323622"/>
                  </a:lnTo>
                  <a:lnTo>
                    <a:pt x="816622" y="330336"/>
                  </a:lnTo>
                  <a:lnTo>
                    <a:pt x="812092" y="331478"/>
                  </a:lnTo>
                  <a:lnTo>
                    <a:pt x="705567" y="393477"/>
                  </a:lnTo>
                  <a:lnTo>
                    <a:pt x="672574" y="863062"/>
                  </a:lnTo>
                  <a:lnTo>
                    <a:pt x="698052" y="1056411"/>
                  </a:lnTo>
                  <a:lnTo>
                    <a:pt x="699393" y="1071065"/>
                  </a:lnTo>
                  <a:lnTo>
                    <a:pt x="698581" y="1074024"/>
                  </a:lnTo>
                  <a:lnTo>
                    <a:pt x="699015" y="1076394"/>
                  </a:lnTo>
                  <a:lnTo>
                    <a:pt x="758002" y="1388123"/>
                  </a:lnTo>
                  <a:lnTo>
                    <a:pt x="759342" y="1404109"/>
                  </a:lnTo>
                  <a:lnTo>
                    <a:pt x="758002" y="1418762"/>
                  </a:lnTo>
                  <a:lnTo>
                    <a:pt x="752639" y="1432084"/>
                  </a:lnTo>
                  <a:lnTo>
                    <a:pt x="745936" y="1445406"/>
                  </a:lnTo>
                  <a:lnTo>
                    <a:pt x="735211" y="1457395"/>
                  </a:lnTo>
                  <a:lnTo>
                    <a:pt x="724486" y="1465389"/>
                  </a:lnTo>
                  <a:lnTo>
                    <a:pt x="711080" y="1473382"/>
                  </a:lnTo>
                  <a:lnTo>
                    <a:pt x="696333" y="1477378"/>
                  </a:lnTo>
                  <a:lnTo>
                    <a:pt x="680246" y="1478710"/>
                  </a:lnTo>
                  <a:lnTo>
                    <a:pt x="665499" y="1477378"/>
                  </a:lnTo>
                  <a:lnTo>
                    <a:pt x="650753" y="1473382"/>
                  </a:lnTo>
                  <a:lnTo>
                    <a:pt x="638687" y="1465389"/>
                  </a:lnTo>
                  <a:lnTo>
                    <a:pt x="627962" y="1457395"/>
                  </a:lnTo>
                  <a:lnTo>
                    <a:pt x="617237" y="1445406"/>
                  </a:lnTo>
                  <a:lnTo>
                    <a:pt x="610534" y="1432084"/>
                  </a:lnTo>
                  <a:lnTo>
                    <a:pt x="606512" y="1417430"/>
                  </a:lnTo>
                  <a:lnTo>
                    <a:pt x="548866" y="1104370"/>
                  </a:lnTo>
                  <a:lnTo>
                    <a:pt x="547525" y="1089716"/>
                  </a:lnTo>
                  <a:lnTo>
                    <a:pt x="547854" y="1086119"/>
                  </a:lnTo>
                  <a:lnTo>
                    <a:pt x="545184" y="1076394"/>
                  </a:lnTo>
                  <a:lnTo>
                    <a:pt x="527552" y="942590"/>
                  </a:lnTo>
                  <a:lnTo>
                    <a:pt x="486244" y="1098746"/>
                  </a:lnTo>
                  <a:lnTo>
                    <a:pt x="483498" y="1104817"/>
                  </a:lnTo>
                  <a:lnTo>
                    <a:pt x="482248" y="1118492"/>
                  </a:lnTo>
                  <a:lnTo>
                    <a:pt x="416971" y="1425774"/>
                  </a:lnTo>
                  <a:lnTo>
                    <a:pt x="411642" y="1441668"/>
                  </a:lnTo>
                  <a:lnTo>
                    <a:pt x="404982" y="1454912"/>
                  </a:lnTo>
                  <a:lnTo>
                    <a:pt x="394324" y="1465508"/>
                  </a:lnTo>
                  <a:lnTo>
                    <a:pt x="383667" y="1476104"/>
                  </a:lnTo>
                  <a:lnTo>
                    <a:pt x="370345" y="1482727"/>
                  </a:lnTo>
                  <a:lnTo>
                    <a:pt x="357023" y="1485376"/>
                  </a:lnTo>
                  <a:lnTo>
                    <a:pt x="342369" y="1486700"/>
                  </a:lnTo>
                  <a:lnTo>
                    <a:pt x="325051" y="1485376"/>
                  </a:lnTo>
                  <a:lnTo>
                    <a:pt x="310397" y="1482727"/>
                  </a:lnTo>
                  <a:lnTo>
                    <a:pt x="297075" y="1474780"/>
                  </a:lnTo>
                  <a:lnTo>
                    <a:pt x="287750" y="1464184"/>
                  </a:lnTo>
                  <a:lnTo>
                    <a:pt x="277092" y="1454912"/>
                  </a:lnTo>
                  <a:lnTo>
                    <a:pt x="270431" y="1441668"/>
                  </a:lnTo>
                  <a:lnTo>
                    <a:pt x="265102" y="1425774"/>
                  </a:lnTo>
                  <a:lnTo>
                    <a:pt x="263770" y="1411204"/>
                  </a:lnTo>
                  <a:lnTo>
                    <a:pt x="265102" y="1396635"/>
                  </a:lnTo>
                  <a:lnTo>
                    <a:pt x="331712" y="1088029"/>
                  </a:lnTo>
                  <a:lnTo>
                    <a:pt x="335708" y="1077101"/>
                  </a:lnTo>
                  <a:lnTo>
                    <a:pt x="335708" y="1075981"/>
                  </a:lnTo>
                  <a:lnTo>
                    <a:pt x="338373" y="1058572"/>
                  </a:lnTo>
                  <a:lnTo>
                    <a:pt x="403650" y="811806"/>
                  </a:lnTo>
                  <a:lnTo>
                    <a:pt x="403650" y="569087"/>
                  </a:lnTo>
                  <a:lnTo>
                    <a:pt x="311393" y="623453"/>
                  </a:lnTo>
                  <a:lnTo>
                    <a:pt x="311002" y="622487"/>
                  </a:lnTo>
                  <a:lnTo>
                    <a:pt x="303736" y="626120"/>
                  </a:lnTo>
                  <a:lnTo>
                    <a:pt x="289082" y="630116"/>
                  </a:lnTo>
                  <a:lnTo>
                    <a:pt x="274428" y="631448"/>
                  </a:lnTo>
                  <a:lnTo>
                    <a:pt x="258442" y="628784"/>
                  </a:lnTo>
                  <a:lnTo>
                    <a:pt x="250449" y="624787"/>
                  </a:lnTo>
                  <a:lnTo>
                    <a:pt x="242455" y="622123"/>
                  </a:lnTo>
                  <a:lnTo>
                    <a:pt x="235795" y="616794"/>
                  </a:lnTo>
                  <a:lnTo>
                    <a:pt x="227802" y="610133"/>
                  </a:lnTo>
                  <a:lnTo>
                    <a:pt x="26643" y="447609"/>
                  </a:lnTo>
                  <a:lnTo>
                    <a:pt x="17318" y="439616"/>
                  </a:lnTo>
                  <a:lnTo>
                    <a:pt x="10657" y="428958"/>
                  </a:lnTo>
                  <a:lnTo>
                    <a:pt x="5328" y="418301"/>
                  </a:lnTo>
                  <a:lnTo>
                    <a:pt x="2664" y="406311"/>
                  </a:lnTo>
                  <a:lnTo>
                    <a:pt x="0" y="394322"/>
                  </a:lnTo>
                  <a:lnTo>
                    <a:pt x="2664" y="383664"/>
                  </a:lnTo>
                  <a:lnTo>
                    <a:pt x="6661" y="371675"/>
                  </a:lnTo>
                  <a:lnTo>
                    <a:pt x="13321" y="359685"/>
                  </a:lnTo>
                  <a:lnTo>
                    <a:pt x="22647" y="351692"/>
                  </a:lnTo>
                  <a:lnTo>
                    <a:pt x="31972" y="343699"/>
                  </a:lnTo>
                  <a:lnTo>
                    <a:pt x="42629" y="338371"/>
                  </a:lnTo>
                  <a:lnTo>
                    <a:pt x="53287" y="335706"/>
                  </a:lnTo>
                  <a:lnTo>
                    <a:pt x="66608" y="335706"/>
                  </a:lnTo>
                  <a:lnTo>
                    <a:pt x="78598" y="337038"/>
                  </a:lnTo>
                  <a:lnTo>
                    <a:pt x="90588" y="339703"/>
                  </a:lnTo>
                  <a:lnTo>
                    <a:pt x="99913" y="346364"/>
                  </a:lnTo>
                  <a:lnTo>
                    <a:pt x="284860" y="482923"/>
                  </a:lnTo>
                  <a:lnTo>
                    <a:pt x="385510" y="431289"/>
                  </a:lnTo>
                  <a:lnTo>
                    <a:pt x="483451" y="378881"/>
                  </a:lnTo>
                  <a:lnTo>
                    <a:pt x="498263" y="371361"/>
                  </a:lnTo>
                  <a:lnTo>
                    <a:pt x="701542" y="260448"/>
                  </a:lnTo>
                  <a:lnTo>
                    <a:pt x="600983" y="149160"/>
                  </a:lnTo>
                  <a:lnTo>
                    <a:pt x="603476" y="155364"/>
                  </a:lnTo>
                  <a:lnTo>
                    <a:pt x="607472" y="169951"/>
                  </a:lnTo>
                  <a:lnTo>
                    <a:pt x="607472" y="185863"/>
                  </a:lnTo>
                  <a:lnTo>
                    <a:pt x="607472" y="200449"/>
                  </a:lnTo>
                  <a:lnTo>
                    <a:pt x="607472" y="213710"/>
                  </a:lnTo>
                  <a:lnTo>
                    <a:pt x="603476" y="228296"/>
                  </a:lnTo>
                  <a:lnTo>
                    <a:pt x="598147" y="241556"/>
                  </a:lnTo>
                  <a:lnTo>
                    <a:pt x="594151" y="254817"/>
                  </a:lnTo>
                  <a:lnTo>
                    <a:pt x="587490" y="266751"/>
                  </a:lnTo>
                  <a:lnTo>
                    <a:pt x="578164" y="277359"/>
                  </a:lnTo>
                  <a:lnTo>
                    <a:pt x="570171" y="289294"/>
                  </a:lnTo>
                  <a:lnTo>
                    <a:pt x="560846" y="298576"/>
                  </a:lnTo>
                  <a:lnTo>
                    <a:pt x="548857" y="307858"/>
                  </a:lnTo>
                  <a:lnTo>
                    <a:pt x="536866" y="315815"/>
                  </a:lnTo>
                  <a:lnTo>
                    <a:pt x="526209" y="322445"/>
                  </a:lnTo>
                  <a:lnTo>
                    <a:pt x="512887" y="327749"/>
                  </a:lnTo>
                  <a:lnTo>
                    <a:pt x="499565" y="330401"/>
                  </a:lnTo>
                  <a:lnTo>
                    <a:pt x="486244" y="334379"/>
                  </a:lnTo>
                  <a:lnTo>
                    <a:pt x="471590" y="335705"/>
                  </a:lnTo>
                  <a:lnTo>
                    <a:pt x="455604" y="335705"/>
                  </a:lnTo>
                  <a:lnTo>
                    <a:pt x="440950" y="334379"/>
                  </a:lnTo>
                  <a:lnTo>
                    <a:pt x="427628" y="330401"/>
                  </a:lnTo>
                  <a:lnTo>
                    <a:pt x="414306" y="327749"/>
                  </a:lnTo>
                  <a:lnTo>
                    <a:pt x="400985" y="321119"/>
                  </a:lnTo>
                  <a:lnTo>
                    <a:pt x="387663" y="314488"/>
                  </a:lnTo>
                  <a:lnTo>
                    <a:pt x="377006" y="307858"/>
                  </a:lnTo>
                  <a:lnTo>
                    <a:pt x="366348" y="297250"/>
                  </a:lnTo>
                  <a:lnTo>
                    <a:pt x="357023" y="287968"/>
                  </a:lnTo>
                  <a:lnTo>
                    <a:pt x="349030" y="277359"/>
                  </a:lnTo>
                  <a:lnTo>
                    <a:pt x="339705" y="266751"/>
                  </a:lnTo>
                  <a:lnTo>
                    <a:pt x="333044" y="254817"/>
                  </a:lnTo>
                  <a:lnTo>
                    <a:pt x="329047" y="241556"/>
                  </a:lnTo>
                  <a:lnTo>
                    <a:pt x="323719" y="228296"/>
                  </a:lnTo>
                  <a:lnTo>
                    <a:pt x="322387" y="213710"/>
                  </a:lnTo>
                  <a:lnTo>
                    <a:pt x="319722" y="200449"/>
                  </a:lnTo>
                  <a:lnTo>
                    <a:pt x="319722" y="185863"/>
                  </a:lnTo>
                  <a:lnTo>
                    <a:pt x="322387" y="169951"/>
                  </a:lnTo>
                  <a:lnTo>
                    <a:pt x="323719" y="155364"/>
                  </a:lnTo>
                  <a:lnTo>
                    <a:pt x="329047" y="142104"/>
                  </a:lnTo>
                  <a:lnTo>
                    <a:pt x="333044" y="128844"/>
                  </a:lnTo>
                  <a:lnTo>
                    <a:pt x="339705" y="118236"/>
                  </a:lnTo>
                  <a:lnTo>
                    <a:pt x="349030" y="106301"/>
                  </a:lnTo>
                  <a:lnTo>
                    <a:pt x="357023" y="94367"/>
                  </a:lnTo>
                  <a:lnTo>
                    <a:pt x="366348" y="86411"/>
                  </a:lnTo>
                  <a:lnTo>
                    <a:pt x="378338" y="75803"/>
                  </a:lnTo>
                  <a:lnTo>
                    <a:pt x="390327" y="70498"/>
                  </a:lnTo>
                  <a:lnTo>
                    <a:pt x="400985" y="63868"/>
                  </a:lnTo>
                  <a:lnTo>
                    <a:pt x="414306" y="57238"/>
                  </a:lnTo>
                  <a:lnTo>
                    <a:pt x="427628" y="53260"/>
                  </a:lnTo>
                  <a:lnTo>
                    <a:pt x="440950" y="50608"/>
                  </a:lnTo>
                  <a:lnTo>
                    <a:pt x="455604" y="47956"/>
                  </a:lnTo>
                  <a:lnTo>
                    <a:pt x="471590" y="47956"/>
                  </a:lnTo>
                  <a:lnTo>
                    <a:pt x="486244" y="50608"/>
                  </a:lnTo>
                  <a:lnTo>
                    <a:pt x="499565" y="53260"/>
                  </a:lnTo>
                  <a:lnTo>
                    <a:pt x="514219" y="57238"/>
                  </a:lnTo>
                  <a:lnTo>
                    <a:pt x="526209" y="63868"/>
                  </a:lnTo>
                  <a:lnTo>
                    <a:pt x="539531" y="70498"/>
                  </a:lnTo>
                  <a:lnTo>
                    <a:pt x="545732" y="75127"/>
                  </a:lnTo>
                  <a:lnTo>
                    <a:pt x="544859" y="71170"/>
                  </a:lnTo>
                  <a:lnTo>
                    <a:pt x="543527" y="57742"/>
                  </a:lnTo>
                  <a:lnTo>
                    <a:pt x="544859" y="45656"/>
                  </a:lnTo>
                  <a:lnTo>
                    <a:pt x="550188" y="34914"/>
                  </a:lnTo>
                  <a:lnTo>
                    <a:pt x="556849" y="24171"/>
                  </a:lnTo>
                  <a:lnTo>
                    <a:pt x="564842" y="14771"/>
                  </a:lnTo>
                  <a:lnTo>
                    <a:pt x="575499" y="8057"/>
                  </a:lnTo>
                  <a:lnTo>
                    <a:pt x="587489" y="268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pic>
        <p:nvPicPr>
          <p:cNvPr id="8" name="Imag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1260" y="3091601"/>
            <a:ext cx="1081278" cy="1081278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6862" y="2079172"/>
            <a:ext cx="878276" cy="878276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381" y="3298171"/>
            <a:ext cx="821071" cy="821071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256853" y="6565187"/>
            <a:ext cx="750014" cy="268210"/>
          </a:xfrm>
          <a:prstGeom prst="rect">
            <a:avLst/>
          </a:prstGeom>
          <a:solidFill>
            <a:srgbClr val="ED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0" name="Rectangle 29"/>
          <p:cNvSpPr/>
          <p:nvPr/>
        </p:nvSpPr>
        <p:spPr>
          <a:xfrm>
            <a:off x="9353957" y="6570324"/>
            <a:ext cx="1834599" cy="268210"/>
          </a:xfrm>
          <a:prstGeom prst="rect">
            <a:avLst/>
          </a:prstGeom>
          <a:solidFill>
            <a:srgbClr val="ED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60374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250"/>
                            </p:stCondLst>
                            <p:childTnLst>
                              <p:par>
                                <p:cTn id="23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3125519" y="3676965"/>
            <a:ext cx="56924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spc="600" dirty="0">
                <a:solidFill>
                  <a:schemeClr val="bg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MARKETING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5292087" y="1529860"/>
            <a:ext cx="1839323" cy="1839328"/>
            <a:chOff x="7208377" y="484986"/>
            <a:chExt cx="430973" cy="430974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14" name="Freeform 231"/>
            <p:cNvSpPr>
              <a:spLocks/>
            </p:cNvSpPr>
            <p:nvPr/>
          </p:nvSpPr>
          <p:spPr bwMode="auto">
            <a:xfrm>
              <a:off x="7358344" y="729592"/>
              <a:ext cx="36400" cy="37856"/>
            </a:xfrm>
            <a:custGeom>
              <a:avLst/>
              <a:gdLst>
                <a:gd name="T0" fmla="*/ 39 w 76"/>
                <a:gd name="T1" fmla="*/ 0 h 78"/>
                <a:gd name="T2" fmla="*/ 30 w 76"/>
                <a:gd name="T3" fmla="*/ 2 h 78"/>
                <a:gd name="T4" fmla="*/ 23 w 76"/>
                <a:gd name="T5" fmla="*/ 3 h 78"/>
                <a:gd name="T6" fmla="*/ 17 w 76"/>
                <a:gd name="T7" fmla="*/ 8 h 78"/>
                <a:gd name="T8" fmla="*/ 11 w 76"/>
                <a:gd name="T9" fmla="*/ 12 h 78"/>
                <a:gd name="T10" fmla="*/ 5 w 76"/>
                <a:gd name="T11" fmla="*/ 18 h 78"/>
                <a:gd name="T12" fmla="*/ 3 w 76"/>
                <a:gd name="T13" fmla="*/ 23 h 78"/>
                <a:gd name="T14" fmla="*/ 0 w 76"/>
                <a:gd name="T15" fmla="*/ 31 h 78"/>
                <a:gd name="T16" fmla="*/ 0 w 76"/>
                <a:gd name="T17" fmla="*/ 39 h 78"/>
                <a:gd name="T18" fmla="*/ 0 w 76"/>
                <a:gd name="T19" fmla="*/ 46 h 78"/>
                <a:gd name="T20" fmla="*/ 3 w 76"/>
                <a:gd name="T21" fmla="*/ 54 h 78"/>
                <a:gd name="T22" fmla="*/ 5 w 76"/>
                <a:gd name="T23" fmla="*/ 61 h 78"/>
                <a:gd name="T24" fmla="*/ 11 w 76"/>
                <a:gd name="T25" fmla="*/ 67 h 78"/>
                <a:gd name="T26" fmla="*/ 17 w 76"/>
                <a:gd name="T27" fmla="*/ 71 h 78"/>
                <a:gd name="T28" fmla="*/ 23 w 76"/>
                <a:gd name="T29" fmla="*/ 75 h 78"/>
                <a:gd name="T30" fmla="*/ 30 w 76"/>
                <a:gd name="T31" fmla="*/ 77 h 78"/>
                <a:gd name="T32" fmla="*/ 39 w 76"/>
                <a:gd name="T33" fmla="*/ 78 h 78"/>
                <a:gd name="T34" fmla="*/ 46 w 76"/>
                <a:gd name="T35" fmla="*/ 77 h 78"/>
                <a:gd name="T36" fmla="*/ 53 w 76"/>
                <a:gd name="T37" fmla="*/ 75 h 78"/>
                <a:gd name="T38" fmla="*/ 60 w 76"/>
                <a:gd name="T39" fmla="*/ 71 h 78"/>
                <a:gd name="T40" fmla="*/ 64 w 76"/>
                <a:gd name="T41" fmla="*/ 67 h 78"/>
                <a:gd name="T42" fmla="*/ 70 w 76"/>
                <a:gd name="T43" fmla="*/ 61 h 78"/>
                <a:gd name="T44" fmla="*/ 73 w 76"/>
                <a:gd name="T45" fmla="*/ 54 h 78"/>
                <a:gd name="T46" fmla="*/ 76 w 76"/>
                <a:gd name="T47" fmla="*/ 46 h 78"/>
                <a:gd name="T48" fmla="*/ 76 w 76"/>
                <a:gd name="T49" fmla="*/ 39 h 78"/>
                <a:gd name="T50" fmla="*/ 76 w 76"/>
                <a:gd name="T51" fmla="*/ 31 h 78"/>
                <a:gd name="T52" fmla="*/ 73 w 76"/>
                <a:gd name="T53" fmla="*/ 23 h 78"/>
                <a:gd name="T54" fmla="*/ 70 w 76"/>
                <a:gd name="T55" fmla="*/ 18 h 78"/>
                <a:gd name="T56" fmla="*/ 64 w 76"/>
                <a:gd name="T57" fmla="*/ 12 h 78"/>
                <a:gd name="T58" fmla="*/ 60 w 76"/>
                <a:gd name="T59" fmla="*/ 8 h 78"/>
                <a:gd name="T60" fmla="*/ 53 w 76"/>
                <a:gd name="T61" fmla="*/ 3 h 78"/>
                <a:gd name="T62" fmla="*/ 46 w 76"/>
                <a:gd name="T63" fmla="*/ 2 h 78"/>
                <a:gd name="T64" fmla="*/ 39 w 76"/>
                <a:gd name="T65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6" h="78">
                  <a:moveTo>
                    <a:pt x="39" y="0"/>
                  </a:moveTo>
                  <a:lnTo>
                    <a:pt x="30" y="2"/>
                  </a:lnTo>
                  <a:lnTo>
                    <a:pt x="23" y="3"/>
                  </a:lnTo>
                  <a:lnTo>
                    <a:pt x="17" y="8"/>
                  </a:lnTo>
                  <a:lnTo>
                    <a:pt x="11" y="12"/>
                  </a:lnTo>
                  <a:lnTo>
                    <a:pt x="5" y="18"/>
                  </a:lnTo>
                  <a:lnTo>
                    <a:pt x="3" y="23"/>
                  </a:lnTo>
                  <a:lnTo>
                    <a:pt x="0" y="31"/>
                  </a:lnTo>
                  <a:lnTo>
                    <a:pt x="0" y="39"/>
                  </a:lnTo>
                  <a:lnTo>
                    <a:pt x="0" y="46"/>
                  </a:lnTo>
                  <a:lnTo>
                    <a:pt x="3" y="54"/>
                  </a:lnTo>
                  <a:lnTo>
                    <a:pt x="5" y="61"/>
                  </a:lnTo>
                  <a:lnTo>
                    <a:pt x="11" y="67"/>
                  </a:lnTo>
                  <a:lnTo>
                    <a:pt x="17" y="71"/>
                  </a:lnTo>
                  <a:lnTo>
                    <a:pt x="23" y="75"/>
                  </a:lnTo>
                  <a:lnTo>
                    <a:pt x="30" y="77"/>
                  </a:lnTo>
                  <a:lnTo>
                    <a:pt x="39" y="78"/>
                  </a:lnTo>
                  <a:lnTo>
                    <a:pt x="46" y="77"/>
                  </a:lnTo>
                  <a:lnTo>
                    <a:pt x="53" y="75"/>
                  </a:lnTo>
                  <a:lnTo>
                    <a:pt x="60" y="71"/>
                  </a:lnTo>
                  <a:lnTo>
                    <a:pt x="64" y="67"/>
                  </a:lnTo>
                  <a:lnTo>
                    <a:pt x="70" y="61"/>
                  </a:lnTo>
                  <a:lnTo>
                    <a:pt x="73" y="54"/>
                  </a:lnTo>
                  <a:lnTo>
                    <a:pt x="76" y="46"/>
                  </a:lnTo>
                  <a:lnTo>
                    <a:pt x="76" y="39"/>
                  </a:lnTo>
                  <a:lnTo>
                    <a:pt x="76" y="31"/>
                  </a:lnTo>
                  <a:lnTo>
                    <a:pt x="73" y="23"/>
                  </a:lnTo>
                  <a:lnTo>
                    <a:pt x="70" y="18"/>
                  </a:lnTo>
                  <a:lnTo>
                    <a:pt x="64" y="12"/>
                  </a:lnTo>
                  <a:lnTo>
                    <a:pt x="60" y="8"/>
                  </a:lnTo>
                  <a:lnTo>
                    <a:pt x="53" y="3"/>
                  </a:lnTo>
                  <a:lnTo>
                    <a:pt x="46" y="2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15" name="Freeform 232"/>
            <p:cNvSpPr>
              <a:spLocks noEditPoints="1"/>
            </p:cNvSpPr>
            <p:nvPr/>
          </p:nvSpPr>
          <p:spPr bwMode="auto">
            <a:xfrm>
              <a:off x="7320488" y="691737"/>
              <a:ext cx="112111" cy="112111"/>
            </a:xfrm>
            <a:custGeom>
              <a:avLst/>
              <a:gdLst>
                <a:gd name="T0" fmla="*/ 104 w 232"/>
                <a:gd name="T1" fmla="*/ 1 h 232"/>
                <a:gd name="T2" fmla="*/ 82 w 232"/>
                <a:gd name="T3" fmla="*/ 5 h 232"/>
                <a:gd name="T4" fmla="*/ 60 w 232"/>
                <a:gd name="T5" fmla="*/ 14 h 232"/>
                <a:gd name="T6" fmla="*/ 42 w 232"/>
                <a:gd name="T7" fmla="*/ 27 h 232"/>
                <a:gd name="T8" fmla="*/ 26 w 232"/>
                <a:gd name="T9" fmla="*/ 43 h 232"/>
                <a:gd name="T10" fmla="*/ 14 w 232"/>
                <a:gd name="T11" fmla="*/ 62 h 232"/>
                <a:gd name="T12" fmla="*/ 6 w 232"/>
                <a:gd name="T13" fmla="*/ 82 h 232"/>
                <a:gd name="T14" fmla="*/ 0 w 232"/>
                <a:gd name="T15" fmla="*/ 105 h 232"/>
                <a:gd name="T16" fmla="*/ 0 w 232"/>
                <a:gd name="T17" fmla="*/ 128 h 232"/>
                <a:gd name="T18" fmla="*/ 6 w 232"/>
                <a:gd name="T19" fmla="*/ 151 h 232"/>
                <a:gd name="T20" fmla="*/ 14 w 232"/>
                <a:gd name="T21" fmla="*/ 171 h 232"/>
                <a:gd name="T22" fmla="*/ 26 w 232"/>
                <a:gd name="T23" fmla="*/ 190 h 232"/>
                <a:gd name="T24" fmla="*/ 42 w 232"/>
                <a:gd name="T25" fmla="*/ 206 h 232"/>
                <a:gd name="T26" fmla="*/ 60 w 232"/>
                <a:gd name="T27" fmla="*/ 219 h 232"/>
                <a:gd name="T28" fmla="*/ 82 w 232"/>
                <a:gd name="T29" fmla="*/ 227 h 232"/>
                <a:gd name="T30" fmla="*/ 104 w 232"/>
                <a:gd name="T31" fmla="*/ 232 h 232"/>
                <a:gd name="T32" fmla="*/ 128 w 232"/>
                <a:gd name="T33" fmla="*/ 232 h 232"/>
                <a:gd name="T34" fmla="*/ 150 w 232"/>
                <a:gd name="T35" fmla="*/ 227 h 232"/>
                <a:gd name="T36" fmla="*/ 171 w 232"/>
                <a:gd name="T37" fmla="*/ 219 h 232"/>
                <a:gd name="T38" fmla="*/ 190 w 232"/>
                <a:gd name="T39" fmla="*/ 206 h 232"/>
                <a:gd name="T40" fmla="*/ 206 w 232"/>
                <a:gd name="T41" fmla="*/ 190 h 232"/>
                <a:gd name="T42" fmla="*/ 217 w 232"/>
                <a:gd name="T43" fmla="*/ 171 h 232"/>
                <a:gd name="T44" fmla="*/ 226 w 232"/>
                <a:gd name="T45" fmla="*/ 151 h 232"/>
                <a:gd name="T46" fmla="*/ 232 w 232"/>
                <a:gd name="T47" fmla="*/ 128 h 232"/>
                <a:gd name="T48" fmla="*/ 232 w 232"/>
                <a:gd name="T49" fmla="*/ 105 h 232"/>
                <a:gd name="T50" fmla="*/ 226 w 232"/>
                <a:gd name="T51" fmla="*/ 82 h 232"/>
                <a:gd name="T52" fmla="*/ 217 w 232"/>
                <a:gd name="T53" fmla="*/ 62 h 232"/>
                <a:gd name="T54" fmla="*/ 206 w 232"/>
                <a:gd name="T55" fmla="*/ 43 h 232"/>
                <a:gd name="T56" fmla="*/ 190 w 232"/>
                <a:gd name="T57" fmla="*/ 27 h 232"/>
                <a:gd name="T58" fmla="*/ 171 w 232"/>
                <a:gd name="T59" fmla="*/ 14 h 232"/>
                <a:gd name="T60" fmla="*/ 150 w 232"/>
                <a:gd name="T61" fmla="*/ 5 h 232"/>
                <a:gd name="T62" fmla="*/ 128 w 232"/>
                <a:gd name="T63" fmla="*/ 1 h 232"/>
                <a:gd name="T64" fmla="*/ 117 w 232"/>
                <a:gd name="T65" fmla="*/ 39 h 232"/>
                <a:gd name="T66" fmla="*/ 131 w 232"/>
                <a:gd name="T67" fmla="*/ 40 h 232"/>
                <a:gd name="T68" fmla="*/ 145 w 232"/>
                <a:gd name="T69" fmla="*/ 44 h 232"/>
                <a:gd name="T70" fmla="*/ 170 w 232"/>
                <a:gd name="T71" fmla="*/ 62 h 232"/>
                <a:gd name="T72" fmla="*/ 187 w 232"/>
                <a:gd name="T73" fmla="*/ 86 h 232"/>
                <a:gd name="T74" fmla="*/ 191 w 232"/>
                <a:gd name="T75" fmla="*/ 100 h 232"/>
                <a:gd name="T76" fmla="*/ 193 w 232"/>
                <a:gd name="T77" fmla="*/ 116 h 232"/>
                <a:gd name="T78" fmla="*/ 191 w 232"/>
                <a:gd name="T79" fmla="*/ 132 h 232"/>
                <a:gd name="T80" fmla="*/ 187 w 232"/>
                <a:gd name="T81" fmla="*/ 147 h 232"/>
                <a:gd name="T82" fmla="*/ 170 w 232"/>
                <a:gd name="T83" fmla="*/ 171 h 232"/>
                <a:gd name="T84" fmla="*/ 145 w 232"/>
                <a:gd name="T85" fmla="*/ 187 h 232"/>
                <a:gd name="T86" fmla="*/ 131 w 232"/>
                <a:gd name="T87" fmla="*/ 191 h 232"/>
                <a:gd name="T88" fmla="*/ 117 w 232"/>
                <a:gd name="T89" fmla="*/ 194 h 232"/>
                <a:gd name="T90" fmla="*/ 101 w 232"/>
                <a:gd name="T91" fmla="*/ 191 h 232"/>
                <a:gd name="T92" fmla="*/ 86 w 232"/>
                <a:gd name="T93" fmla="*/ 187 h 232"/>
                <a:gd name="T94" fmla="*/ 62 w 232"/>
                <a:gd name="T95" fmla="*/ 171 h 232"/>
                <a:gd name="T96" fmla="*/ 45 w 232"/>
                <a:gd name="T97" fmla="*/ 147 h 232"/>
                <a:gd name="T98" fmla="*/ 40 w 232"/>
                <a:gd name="T99" fmla="*/ 132 h 232"/>
                <a:gd name="T100" fmla="*/ 39 w 232"/>
                <a:gd name="T101" fmla="*/ 116 h 232"/>
                <a:gd name="T102" fmla="*/ 40 w 232"/>
                <a:gd name="T103" fmla="*/ 100 h 232"/>
                <a:gd name="T104" fmla="*/ 45 w 232"/>
                <a:gd name="T105" fmla="*/ 86 h 232"/>
                <a:gd name="T106" fmla="*/ 62 w 232"/>
                <a:gd name="T107" fmla="*/ 62 h 232"/>
                <a:gd name="T108" fmla="*/ 86 w 232"/>
                <a:gd name="T109" fmla="*/ 44 h 232"/>
                <a:gd name="T110" fmla="*/ 101 w 232"/>
                <a:gd name="T111" fmla="*/ 40 h 232"/>
                <a:gd name="T112" fmla="*/ 117 w 232"/>
                <a:gd name="T113" fmla="*/ 3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2" h="232">
                  <a:moveTo>
                    <a:pt x="117" y="0"/>
                  </a:moveTo>
                  <a:lnTo>
                    <a:pt x="104" y="1"/>
                  </a:lnTo>
                  <a:lnTo>
                    <a:pt x="92" y="3"/>
                  </a:lnTo>
                  <a:lnTo>
                    <a:pt x="82" y="5"/>
                  </a:lnTo>
                  <a:lnTo>
                    <a:pt x="70" y="10"/>
                  </a:lnTo>
                  <a:lnTo>
                    <a:pt x="60" y="14"/>
                  </a:lnTo>
                  <a:lnTo>
                    <a:pt x="52" y="20"/>
                  </a:lnTo>
                  <a:lnTo>
                    <a:pt x="42" y="27"/>
                  </a:lnTo>
                  <a:lnTo>
                    <a:pt x="34" y="34"/>
                  </a:lnTo>
                  <a:lnTo>
                    <a:pt x="26" y="43"/>
                  </a:lnTo>
                  <a:lnTo>
                    <a:pt x="20" y="51"/>
                  </a:lnTo>
                  <a:lnTo>
                    <a:pt x="14" y="62"/>
                  </a:lnTo>
                  <a:lnTo>
                    <a:pt x="9" y="72"/>
                  </a:lnTo>
                  <a:lnTo>
                    <a:pt x="6" y="82"/>
                  </a:lnTo>
                  <a:lnTo>
                    <a:pt x="3" y="93"/>
                  </a:lnTo>
                  <a:lnTo>
                    <a:pt x="0" y="105"/>
                  </a:lnTo>
                  <a:lnTo>
                    <a:pt x="0" y="116"/>
                  </a:lnTo>
                  <a:lnTo>
                    <a:pt x="0" y="128"/>
                  </a:lnTo>
                  <a:lnTo>
                    <a:pt x="3" y="139"/>
                  </a:lnTo>
                  <a:lnTo>
                    <a:pt x="6" y="151"/>
                  </a:lnTo>
                  <a:lnTo>
                    <a:pt x="9" y="161"/>
                  </a:lnTo>
                  <a:lnTo>
                    <a:pt x="14" y="171"/>
                  </a:lnTo>
                  <a:lnTo>
                    <a:pt x="20" y="181"/>
                  </a:lnTo>
                  <a:lnTo>
                    <a:pt x="26" y="190"/>
                  </a:lnTo>
                  <a:lnTo>
                    <a:pt x="34" y="198"/>
                  </a:lnTo>
                  <a:lnTo>
                    <a:pt x="42" y="206"/>
                  </a:lnTo>
                  <a:lnTo>
                    <a:pt x="52" y="213"/>
                  </a:lnTo>
                  <a:lnTo>
                    <a:pt x="60" y="219"/>
                  </a:lnTo>
                  <a:lnTo>
                    <a:pt x="70" y="223"/>
                  </a:lnTo>
                  <a:lnTo>
                    <a:pt x="82" y="227"/>
                  </a:lnTo>
                  <a:lnTo>
                    <a:pt x="92" y="230"/>
                  </a:lnTo>
                  <a:lnTo>
                    <a:pt x="104" y="232"/>
                  </a:lnTo>
                  <a:lnTo>
                    <a:pt x="117" y="232"/>
                  </a:lnTo>
                  <a:lnTo>
                    <a:pt x="128" y="232"/>
                  </a:lnTo>
                  <a:lnTo>
                    <a:pt x="140" y="230"/>
                  </a:lnTo>
                  <a:lnTo>
                    <a:pt x="150" y="227"/>
                  </a:lnTo>
                  <a:lnTo>
                    <a:pt x="161" y="223"/>
                  </a:lnTo>
                  <a:lnTo>
                    <a:pt x="171" y="219"/>
                  </a:lnTo>
                  <a:lnTo>
                    <a:pt x="180" y="213"/>
                  </a:lnTo>
                  <a:lnTo>
                    <a:pt x="190" y="206"/>
                  </a:lnTo>
                  <a:lnTo>
                    <a:pt x="197" y="198"/>
                  </a:lnTo>
                  <a:lnTo>
                    <a:pt x="206" y="190"/>
                  </a:lnTo>
                  <a:lnTo>
                    <a:pt x="212" y="181"/>
                  </a:lnTo>
                  <a:lnTo>
                    <a:pt x="217" y="171"/>
                  </a:lnTo>
                  <a:lnTo>
                    <a:pt x="223" y="161"/>
                  </a:lnTo>
                  <a:lnTo>
                    <a:pt x="226" y="151"/>
                  </a:lnTo>
                  <a:lnTo>
                    <a:pt x="229" y="139"/>
                  </a:lnTo>
                  <a:lnTo>
                    <a:pt x="232" y="128"/>
                  </a:lnTo>
                  <a:lnTo>
                    <a:pt x="232" y="116"/>
                  </a:lnTo>
                  <a:lnTo>
                    <a:pt x="232" y="105"/>
                  </a:lnTo>
                  <a:lnTo>
                    <a:pt x="229" y="93"/>
                  </a:lnTo>
                  <a:lnTo>
                    <a:pt x="226" y="82"/>
                  </a:lnTo>
                  <a:lnTo>
                    <a:pt x="223" y="72"/>
                  </a:lnTo>
                  <a:lnTo>
                    <a:pt x="217" y="62"/>
                  </a:lnTo>
                  <a:lnTo>
                    <a:pt x="212" y="51"/>
                  </a:lnTo>
                  <a:lnTo>
                    <a:pt x="206" y="43"/>
                  </a:lnTo>
                  <a:lnTo>
                    <a:pt x="197" y="34"/>
                  </a:lnTo>
                  <a:lnTo>
                    <a:pt x="190" y="27"/>
                  </a:lnTo>
                  <a:lnTo>
                    <a:pt x="180" y="20"/>
                  </a:lnTo>
                  <a:lnTo>
                    <a:pt x="171" y="14"/>
                  </a:lnTo>
                  <a:lnTo>
                    <a:pt x="161" y="10"/>
                  </a:lnTo>
                  <a:lnTo>
                    <a:pt x="150" y="5"/>
                  </a:lnTo>
                  <a:lnTo>
                    <a:pt x="140" y="3"/>
                  </a:lnTo>
                  <a:lnTo>
                    <a:pt x="128" y="1"/>
                  </a:lnTo>
                  <a:lnTo>
                    <a:pt x="117" y="0"/>
                  </a:lnTo>
                  <a:close/>
                  <a:moveTo>
                    <a:pt x="117" y="39"/>
                  </a:moveTo>
                  <a:lnTo>
                    <a:pt x="124" y="40"/>
                  </a:lnTo>
                  <a:lnTo>
                    <a:pt x="131" y="40"/>
                  </a:lnTo>
                  <a:lnTo>
                    <a:pt x="138" y="43"/>
                  </a:lnTo>
                  <a:lnTo>
                    <a:pt x="145" y="44"/>
                  </a:lnTo>
                  <a:lnTo>
                    <a:pt x="158" y="51"/>
                  </a:lnTo>
                  <a:lnTo>
                    <a:pt x="170" y="62"/>
                  </a:lnTo>
                  <a:lnTo>
                    <a:pt x="180" y="73"/>
                  </a:lnTo>
                  <a:lnTo>
                    <a:pt x="187" y="86"/>
                  </a:lnTo>
                  <a:lnTo>
                    <a:pt x="190" y="93"/>
                  </a:lnTo>
                  <a:lnTo>
                    <a:pt x="191" y="100"/>
                  </a:lnTo>
                  <a:lnTo>
                    <a:pt x="193" y="108"/>
                  </a:lnTo>
                  <a:lnTo>
                    <a:pt x="193" y="116"/>
                  </a:lnTo>
                  <a:lnTo>
                    <a:pt x="193" y="123"/>
                  </a:lnTo>
                  <a:lnTo>
                    <a:pt x="191" y="132"/>
                  </a:lnTo>
                  <a:lnTo>
                    <a:pt x="190" y="139"/>
                  </a:lnTo>
                  <a:lnTo>
                    <a:pt x="187" y="147"/>
                  </a:lnTo>
                  <a:lnTo>
                    <a:pt x="180" y="160"/>
                  </a:lnTo>
                  <a:lnTo>
                    <a:pt x="170" y="171"/>
                  </a:lnTo>
                  <a:lnTo>
                    <a:pt x="158" y="180"/>
                  </a:lnTo>
                  <a:lnTo>
                    <a:pt x="145" y="187"/>
                  </a:lnTo>
                  <a:lnTo>
                    <a:pt x="138" y="190"/>
                  </a:lnTo>
                  <a:lnTo>
                    <a:pt x="131" y="191"/>
                  </a:lnTo>
                  <a:lnTo>
                    <a:pt x="124" y="193"/>
                  </a:lnTo>
                  <a:lnTo>
                    <a:pt x="117" y="194"/>
                  </a:lnTo>
                  <a:lnTo>
                    <a:pt x="108" y="193"/>
                  </a:lnTo>
                  <a:lnTo>
                    <a:pt x="101" y="191"/>
                  </a:lnTo>
                  <a:lnTo>
                    <a:pt x="93" y="190"/>
                  </a:lnTo>
                  <a:lnTo>
                    <a:pt x="86" y="187"/>
                  </a:lnTo>
                  <a:lnTo>
                    <a:pt x="73" y="180"/>
                  </a:lnTo>
                  <a:lnTo>
                    <a:pt x="62" y="171"/>
                  </a:lnTo>
                  <a:lnTo>
                    <a:pt x="52" y="160"/>
                  </a:lnTo>
                  <a:lnTo>
                    <a:pt x="45" y="147"/>
                  </a:lnTo>
                  <a:lnTo>
                    <a:pt x="42" y="139"/>
                  </a:lnTo>
                  <a:lnTo>
                    <a:pt x="40" y="132"/>
                  </a:lnTo>
                  <a:lnTo>
                    <a:pt x="39" y="123"/>
                  </a:lnTo>
                  <a:lnTo>
                    <a:pt x="39" y="116"/>
                  </a:lnTo>
                  <a:lnTo>
                    <a:pt x="39" y="108"/>
                  </a:lnTo>
                  <a:lnTo>
                    <a:pt x="40" y="100"/>
                  </a:lnTo>
                  <a:lnTo>
                    <a:pt x="42" y="93"/>
                  </a:lnTo>
                  <a:lnTo>
                    <a:pt x="45" y="86"/>
                  </a:lnTo>
                  <a:lnTo>
                    <a:pt x="52" y="73"/>
                  </a:lnTo>
                  <a:lnTo>
                    <a:pt x="62" y="62"/>
                  </a:lnTo>
                  <a:lnTo>
                    <a:pt x="73" y="51"/>
                  </a:lnTo>
                  <a:lnTo>
                    <a:pt x="86" y="44"/>
                  </a:lnTo>
                  <a:lnTo>
                    <a:pt x="93" y="43"/>
                  </a:lnTo>
                  <a:lnTo>
                    <a:pt x="101" y="40"/>
                  </a:lnTo>
                  <a:lnTo>
                    <a:pt x="108" y="40"/>
                  </a:lnTo>
                  <a:lnTo>
                    <a:pt x="117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16" name="Freeform 233"/>
            <p:cNvSpPr>
              <a:spLocks noEditPoints="1"/>
            </p:cNvSpPr>
            <p:nvPr/>
          </p:nvSpPr>
          <p:spPr bwMode="auto">
            <a:xfrm>
              <a:off x="7265161" y="634953"/>
              <a:ext cx="224223" cy="225679"/>
            </a:xfrm>
            <a:custGeom>
              <a:avLst/>
              <a:gdLst>
                <a:gd name="T0" fmla="*/ 184 w 462"/>
                <a:gd name="T1" fmla="*/ 5 h 464"/>
                <a:gd name="T2" fmla="*/ 121 w 462"/>
                <a:gd name="T3" fmla="*/ 28 h 464"/>
                <a:gd name="T4" fmla="*/ 67 w 462"/>
                <a:gd name="T5" fmla="*/ 68 h 464"/>
                <a:gd name="T6" fmla="*/ 27 w 462"/>
                <a:gd name="T7" fmla="*/ 121 h 464"/>
                <a:gd name="T8" fmla="*/ 4 w 462"/>
                <a:gd name="T9" fmla="*/ 185 h 464"/>
                <a:gd name="T10" fmla="*/ 0 w 462"/>
                <a:gd name="T11" fmla="*/ 255 h 464"/>
                <a:gd name="T12" fmla="*/ 17 w 462"/>
                <a:gd name="T13" fmla="*/ 323 h 464"/>
                <a:gd name="T14" fmla="*/ 52 w 462"/>
                <a:gd name="T15" fmla="*/ 379 h 464"/>
                <a:gd name="T16" fmla="*/ 102 w 462"/>
                <a:gd name="T17" fmla="*/ 424 h 464"/>
                <a:gd name="T18" fmla="*/ 162 w 462"/>
                <a:gd name="T19" fmla="*/ 454 h 464"/>
                <a:gd name="T20" fmla="*/ 232 w 462"/>
                <a:gd name="T21" fmla="*/ 464 h 464"/>
                <a:gd name="T22" fmla="*/ 299 w 462"/>
                <a:gd name="T23" fmla="*/ 454 h 464"/>
                <a:gd name="T24" fmla="*/ 360 w 462"/>
                <a:gd name="T25" fmla="*/ 424 h 464"/>
                <a:gd name="T26" fmla="*/ 410 w 462"/>
                <a:gd name="T27" fmla="*/ 379 h 464"/>
                <a:gd name="T28" fmla="*/ 445 w 462"/>
                <a:gd name="T29" fmla="*/ 323 h 464"/>
                <a:gd name="T30" fmla="*/ 462 w 462"/>
                <a:gd name="T31" fmla="*/ 255 h 464"/>
                <a:gd name="T32" fmla="*/ 458 w 462"/>
                <a:gd name="T33" fmla="*/ 185 h 464"/>
                <a:gd name="T34" fmla="*/ 435 w 462"/>
                <a:gd name="T35" fmla="*/ 121 h 464"/>
                <a:gd name="T36" fmla="*/ 394 w 462"/>
                <a:gd name="T37" fmla="*/ 68 h 464"/>
                <a:gd name="T38" fmla="*/ 341 w 462"/>
                <a:gd name="T39" fmla="*/ 28 h 464"/>
                <a:gd name="T40" fmla="*/ 278 w 462"/>
                <a:gd name="T41" fmla="*/ 5 h 464"/>
                <a:gd name="T42" fmla="*/ 232 w 462"/>
                <a:gd name="T43" fmla="*/ 0 h 464"/>
                <a:gd name="T44" fmla="*/ 270 w 462"/>
                <a:gd name="T45" fmla="*/ 44 h 464"/>
                <a:gd name="T46" fmla="*/ 322 w 462"/>
                <a:gd name="T47" fmla="*/ 62 h 464"/>
                <a:gd name="T48" fmla="*/ 367 w 462"/>
                <a:gd name="T49" fmla="*/ 95 h 464"/>
                <a:gd name="T50" fmla="*/ 400 w 462"/>
                <a:gd name="T51" fmla="*/ 140 h 464"/>
                <a:gd name="T52" fmla="*/ 420 w 462"/>
                <a:gd name="T53" fmla="*/ 193 h 464"/>
                <a:gd name="T54" fmla="*/ 423 w 462"/>
                <a:gd name="T55" fmla="*/ 252 h 464"/>
                <a:gd name="T56" fmla="*/ 409 w 462"/>
                <a:gd name="T57" fmla="*/ 307 h 464"/>
                <a:gd name="T58" fmla="*/ 380 w 462"/>
                <a:gd name="T59" fmla="*/ 355 h 464"/>
                <a:gd name="T60" fmla="*/ 338 w 462"/>
                <a:gd name="T61" fmla="*/ 392 h 464"/>
                <a:gd name="T62" fmla="*/ 288 w 462"/>
                <a:gd name="T63" fmla="*/ 417 h 464"/>
                <a:gd name="T64" fmla="*/ 232 w 462"/>
                <a:gd name="T65" fmla="*/ 425 h 464"/>
                <a:gd name="T66" fmla="*/ 174 w 462"/>
                <a:gd name="T67" fmla="*/ 417 h 464"/>
                <a:gd name="T68" fmla="*/ 124 w 462"/>
                <a:gd name="T69" fmla="*/ 392 h 464"/>
                <a:gd name="T70" fmla="*/ 82 w 462"/>
                <a:gd name="T71" fmla="*/ 355 h 464"/>
                <a:gd name="T72" fmla="*/ 53 w 462"/>
                <a:gd name="T73" fmla="*/ 307 h 464"/>
                <a:gd name="T74" fmla="*/ 39 w 462"/>
                <a:gd name="T75" fmla="*/ 252 h 464"/>
                <a:gd name="T76" fmla="*/ 41 w 462"/>
                <a:gd name="T77" fmla="*/ 193 h 464"/>
                <a:gd name="T78" fmla="*/ 62 w 462"/>
                <a:gd name="T79" fmla="*/ 140 h 464"/>
                <a:gd name="T80" fmla="*/ 95 w 462"/>
                <a:gd name="T81" fmla="*/ 95 h 464"/>
                <a:gd name="T82" fmla="*/ 139 w 462"/>
                <a:gd name="T83" fmla="*/ 62 h 464"/>
                <a:gd name="T84" fmla="*/ 193 w 462"/>
                <a:gd name="T85" fmla="*/ 4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62" h="464">
                  <a:moveTo>
                    <a:pt x="232" y="0"/>
                  </a:moveTo>
                  <a:lnTo>
                    <a:pt x="207" y="2"/>
                  </a:lnTo>
                  <a:lnTo>
                    <a:pt x="184" y="5"/>
                  </a:lnTo>
                  <a:lnTo>
                    <a:pt x="162" y="10"/>
                  </a:lnTo>
                  <a:lnTo>
                    <a:pt x="141" y="19"/>
                  </a:lnTo>
                  <a:lnTo>
                    <a:pt x="121" y="28"/>
                  </a:lnTo>
                  <a:lnTo>
                    <a:pt x="102" y="39"/>
                  </a:lnTo>
                  <a:lnTo>
                    <a:pt x="83" y="54"/>
                  </a:lnTo>
                  <a:lnTo>
                    <a:pt x="67" y="68"/>
                  </a:lnTo>
                  <a:lnTo>
                    <a:pt x="52" y="85"/>
                  </a:lnTo>
                  <a:lnTo>
                    <a:pt x="39" y="103"/>
                  </a:lnTo>
                  <a:lnTo>
                    <a:pt x="27" y="121"/>
                  </a:lnTo>
                  <a:lnTo>
                    <a:pt x="17" y="142"/>
                  </a:lnTo>
                  <a:lnTo>
                    <a:pt x="10" y="163"/>
                  </a:lnTo>
                  <a:lnTo>
                    <a:pt x="4" y="185"/>
                  </a:lnTo>
                  <a:lnTo>
                    <a:pt x="0" y="208"/>
                  </a:lnTo>
                  <a:lnTo>
                    <a:pt x="0" y="232"/>
                  </a:lnTo>
                  <a:lnTo>
                    <a:pt x="0" y="255"/>
                  </a:lnTo>
                  <a:lnTo>
                    <a:pt x="4" y="278"/>
                  </a:lnTo>
                  <a:lnTo>
                    <a:pt x="10" y="301"/>
                  </a:lnTo>
                  <a:lnTo>
                    <a:pt x="17" y="323"/>
                  </a:lnTo>
                  <a:lnTo>
                    <a:pt x="27" y="343"/>
                  </a:lnTo>
                  <a:lnTo>
                    <a:pt x="39" y="362"/>
                  </a:lnTo>
                  <a:lnTo>
                    <a:pt x="52" y="379"/>
                  </a:lnTo>
                  <a:lnTo>
                    <a:pt x="67" y="396"/>
                  </a:lnTo>
                  <a:lnTo>
                    <a:pt x="83" y="411"/>
                  </a:lnTo>
                  <a:lnTo>
                    <a:pt x="102" y="424"/>
                  </a:lnTo>
                  <a:lnTo>
                    <a:pt x="121" y="435"/>
                  </a:lnTo>
                  <a:lnTo>
                    <a:pt x="141" y="445"/>
                  </a:lnTo>
                  <a:lnTo>
                    <a:pt x="162" y="454"/>
                  </a:lnTo>
                  <a:lnTo>
                    <a:pt x="184" y="460"/>
                  </a:lnTo>
                  <a:lnTo>
                    <a:pt x="207" y="463"/>
                  </a:lnTo>
                  <a:lnTo>
                    <a:pt x="232" y="464"/>
                  </a:lnTo>
                  <a:lnTo>
                    <a:pt x="255" y="463"/>
                  </a:lnTo>
                  <a:lnTo>
                    <a:pt x="278" y="460"/>
                  </a:lnTo>
                  <a:lnTo>
                    <a:pt x="299" y="454"/>
                  </a:lnTo>
                  <a:lnTo>
                    <a:pt x="321" y="445"/>
                  </a:lnTo>
                  <a:lnTo>
                    <a:pt x="341" y="435"/>
                  </a:lnTo>
                  <a:lnTo>
                    <a:pt x="360" y="424"/>
                  </a:lnTo>
                  <a:lnTo>
                    <a:pt x="378" y="411"/>
                  </a:lnTo>
                  <a:lnTo>
                    <a:pt x="394" y="396"/>
                  </a:lnTo>
                  <a:lnTo>
                    <a:pt x="410" y="379"/>
                  </a:lnTo>
                  <a:lnTo>
                    <a:pt x="423" y="362"/>
                  </a:lnTo>
                  <a:lnTo>
                    <a:pt x="435" y="343"/>
                  </a:lnTo>
                  <a:lnTo>
                    <a:pt x="445" y="323"/>
                  </a:lnTo>
                  <a:lnTo>
                    <a:pt x="452" y="301"/>
                  </a:lnTo>
                  <a:lnTo>
                    <a:pt x="458" y="278"/>
                  </a:lnTo>
                  <a:lnTo>
                    <a:pt x="462" y="255"/>
                  </a:lnTo>
                  <a:lnTo>
                    <a:pt x="462" y="232"/>
                  </a:lnTo>
                  <a:lnTo>
                    <a:pt x="462" y="208"/>
                  </a:lnTo>
                  <a:lnTo>
                    <a:pt x="458" y="185"/>
                  </a:lnTo>
                  <a:lnTo>
                    <a:pt x="452" y="163"/>
                  </a:lnTo>
                  <a:lnTo>
                    <a:pt x="445" y="142"/>
                  </a:lnTo>
                  <a:lnTo>
                    <a:pt x="435" y="121"/>
                  </a:lnTo>
                  <a:lnTo>
                    <a:pt x="423" y="103"/>
                  </a:lnTo>
                  <a:lnTo>
                    <a:pt x="410" y="85"/>
                  </a:lnTo>
                  <a:lnTo>
                    <a:pt x="394" y="68"/>
                  </a:lnTo>
                  <a:lnTo>
                    <a:pt x="378" y="54"/>
                  </a:lnTo>
                  <a:lnTo>
                    <a:pt x="360" y="39"/>
                  </a:lnTo>
                  <a:lnTo>
                    <a:pt x="341" y="28"/>
                  </a:lnTo>
                  <a:lnTo>
                    <a:pt x="321" y="19"/>
                  </a:lnTo>
                  <a:lnTo>
                    <a:pt x="299" y="10"/>
                  </a:lnTo>
                  <a:lnTo>
                    <a:pt x="278" y="5"/>
                  </a:lnTo>
                  <a:lnTo>
                    <a:pt x="255" y="2"/>
                  </a:lnTo>
                  <a:lnTo>
                    <a:pt x="232" y="0"/>
                  </a:lnTo>
                  <a:lnTo>
                    <a:pt x="232" y="0"/>
                  </a:lnTo>
                  <a:close/>
                  <a:moveTo>
                    <a:pt x="232" y="39"/>
                  </a:moveTo>
                  <a:lnTo>
                    <a:pt x="250" y="39"/>
                  </a:lnTo>
                  <a:lnTo>
                    <a:pt x="270" y="44"/>
                  </a:lnTo>
                  <a:lnTo>
                    <a:pt x="288" y="48"/>
                  </a:lnTo>
                  <a:lnTo>
                    <a:pt x="306" y="54"/>
                  </a:lnTo>
                  <a:lnTo>
                    <a:pt x="322" y="62"/>
                  </a:lnTo>
                  <a:lnTo>
                    <a:pt x="338" y="72"/>
                  </a:lnTo>
                  <a:lnTo>
                    <a:pt x="354" y="82"/>
                  </a:lnTo>
                  <a:lnTo>
                    <a:pt x="367" y="95"/>
                  </a:lnTo>
                  <a:lnTo>
                    <a:pt x="380" y="110"/>
                  </a:lnTo>
                  <a:lnTo>
                    <a:pt x="391" y="124"/>
                  </a:lnTo>
                  <a:lnTo>
                    <a:pt x="400" y="140"/>
                  </a:lnTo>
                  <a:lnTo>
                    <a:pt x="409" y="157"/>
                  </a:lnTo>
                  <a:lnTo>
                    <a:pt x="416" y="175"/>
                  </a:lnTo>
                  <a:lnTo>
                    <a:pt x="420" y="193"/>
                  </a:lnTo>
                  <a:lnTo>
                    <a:pt x="423" y="212"/>
                  </a:lnTo>
                  <a:lnTo>
                    <a:pt x="424" y="232"/>
                  </a:lnTo>
                  <a:lnTo>
                    <a:pt x="423" y="252"/>
                  </a:lnTo>
                  <a:lnTo>
                    <a:pt x="420" y="271"/>
                  </a:lnTo>
                  <a:lnTo>
                    <a:pt x="416" y="290"/>
                  </a:lnTo>
                  <a:lnTo>
                    <a:pt x="409" y="307"/>
                  </a:lnTo>
                  <a:lnTo>
                    <a:pt x="400" y="324"/>
                  </a:lnTo>
                  <a:lnTo>
                    <a:pt x="391" y="340"/>
                  </a:lnTo>
                  <a:lnTo>
                    <a:pt x="380" y="355"/>
                  </a:lnTo>
                  <a:lnTo>
                    <a:pt x="367" y="369"/>
                  </a:lnTo>
                  <a:lnTo>
                    <a:pt x="354" y="381"/>
                  </a:lnTo>
                  <a:lnTo>
                    <a:pt x="338" y="392"/>
                  </a:lnTo>
                  <a:lnTo>
                    <a:pt x="322" y="402"/>
                  </a:lnTo>
                  <a:lnTo>
                    <a:pt x="306" y="409"/>
                  </a:lnTo>
                  <a:lnTo>
                    <a:pt x="288" y="417"/>
                  </a:lnTo>
                  <a:lnTo>
                    <a:pt x="270" y="421"/>
                  </a:lnTo>
                  <a:lnTo>
                    <a:pt x="250" y="424"/>
                  </a:lnTo>
                  <a:lnTo>
                    <a:pt x="232" y="425"/>
                  </a:lnTo>
                  <a:lnTo>
                    <a:pt x="211" y="424"/>
                  </a:lnTo>
                  <a:lnTo>
                    <a:pt x="193" y="421"/>
                  </a:lnTo>
                  <a:lnTo>
                    <a:pt x="174" y="417"/>
                  </a:lnTo>
                  <a:lnTo>
                    <a:pt x="155" y="409"/>
                  </a:lnTo>
                  <a:lnTo>
                    <a:pt x="139" y="402"/>
                  </a:lnTo>
                  <a:lnTo>
                    <a:pt x="124" y="392"/>
                  </a:lnTo>
                  <a:lnTo>
                    <a:pt x="108" y="381"/>
                  </a:lnTo>
                  <a:lnTo>
                    <a:pt x="95" y="369"/>
                  </a:lnTo>
                  <a:lnTo>
                    <a:pt x="82" y="355"/>
                  </a:lnTo>
                  <a:lnTo>
                    <a:pt x="70" y="340"/>
                  </a:lnTo>
                  <a:lnTo>
                    <a:pt x="62" y="324"/>
                  </a:lnTo>
                  <a:lnTo>
                    <a:pt x="53" y="307"/>
                  </a:lnTo>
                  <a:lnTo>
                    <a:pt x="46" y="290"/>
                  </a:lnTo>
                  <a:lnTo>
                    <a:pt x="41" y="271"/>
                  </a:lnTo>
                  <a:lnTo>
                    <a:pt x="39" y="252"/>
                  </a:lnTo>
                  <a:lnTo>
                    <a:pt x="37" y="232"/>
                  </a:lnTo>
                  <a:lnTo>
                    <a:pt x="39" y="212"/>
                  </a:lnTo>
                  <a:lnTo>
                    <a:pt x="41" y="193"/>
                  </a:lnTo>
                  <a:lnTo>
                    <a:pt x="46" y="175"/>
                  </a:lnTo>
                  <a:lnTo>
                    <a:pt x="53" y="157"/>
                  </a:lnTo>
                  <a:lnTo>
                    <a:pt x="62" y="140"/>
                  </a:lnTo>
                  <a:lnTo>
                    <a:pt x="70" y="124"/>
                  </a:lnTo>
                  <a:lnTo>
                    <a:pt x="82" y="110"/>
                  </a:lnTo>
                  <a:lnTo>
                    <a:pt x="95" y="95"/>
                  </a:lnTo>
                  <a:lnTo>
                    <a:pt x="108" y="82"/>
                  </a:lnTo>
                  <a:lnTo>
                    <a:pt x="124" y="72"/>
                  </a:lnTo>
                  <a:lnTo>
                    <a:pt x="139" y="62"/>
                  </a:lnTo>
                  <a:lnTo>
                    <a:pt x="155" y="54"/>
                  </a:lnTo>
                  <a:lnTo>
                    <a:pt x="174" y="48"/>
                  </a:lnTo>
                  <a:lnTo>
                    <a:pt x="193" y="44"/>
                  </a:lnTo>
                  <a:lnTo>
                    <a:pt x="211" y="39"/>
                  </a:lnTo>
                  <a:lnTo>
                    <a:pt x="232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17" name="Freeform 234"/>
            <p:cNvSpPr>
              <a:spLocks noEditPoints="1"/>
            </p:cNvSpPr>
            <p:nvPr/>
          </p:nvSpPr>
          <p:spPr bwMode="auto">
            <a:xfrm>
              <a:off x="7208377" y="579625"/>
              <a:ext cx="337790" cy="336334"/>
            </a:xfrm>
            <a:custGeom>
              <a:avLst/>
              <a:gdLst>
                <a:gd name="T0" fmla="*/ 295 w 696"/>
                <a:gd name="T1" fmla="*/ 3 h 694"/>
                <a:gd name="T2" fmla="*/ 229 w 696"/>
                <a:gd name="T3" fmla="*/ 20 h 694"/>
                <a:gd name="T4" fmla="*/ 167 w 696"/>
                <a:gd name="T5" fmla="*/ 49 h 694"/>
                <a:gd name="T6" fmla="*/ 114 w 696"/>
                <a:gd name="T7" fmla="*/ 89 h 694"/>
                <a:gd name="T8" fmla="*/ 69 w 696"/>
                <a:gd name="T9" fmla="*/ 138 h 694"/>
                <a:gd name="T10" fmla="*/ 35 w 696"/>
                <a:gd name="T11" fmla="*/ 196 h 694"/>
                <a:gd name="T12" fmla="*/ 12 w 696"/>
                <a:gd name="T13" fmla="*/ 261 h 694"/>
                <a:gd name="T14" fmla="*/ 0 w 696"/>
                <a:gd name="T15" fmla="*/ 329 h 694"/>
                <a:gd name="T16" fmla="*/ 4 w 696"/>
                <a:gd name="T17" fmla="*/ 401 h 694"/>
                <a:gd name="T18" fmla="*/ 22 w 696"/>
                <a:gd name="T19" fmla="*/ 467 h 694"/>
                <a:gd name="T20" fmla="*/ 50 w 696"/>
                <a:gd name="T21" fmla="*/ 527 h 694"/>
                <a:gd name="T22" fmla="*/ 91 w 696"/>
                <a:gd name="T23" fmla="*/ 581 h 694"/>
                <a:gd name="T24" fmla="*/ 140 w 696"/>
                <a:gd name="T25" fmla="*/ 625 h 694"/>
                <a:gd name="T26" fmla="*/ 197 w 696"/>
                <a:gd name="T27" fmla="*/ 660 h 694"/>
                <a:gd name="T28" fmla="*/ 261 w 696"/>
                <a:gd name="T29" fmla="*/ 684 h 694"/>
                <a:gd name="T30" fmla="*/ 330 w 696"/>
                <a:gd name="T31" fmla="*/ 694 h 694"/>
                <a:gd name="T32" fmla="*/ 400 w 696"/>
                <a:gd name="T33" fmla="*/ 690 h 694"/>
                <a:gd name="T34" fmla="*/ 468 w 696"/>
                <a:gd name="T35" fmla="*/ 674 h 694"/>
                <a:gd name="T36" fmla="*/ 529 w 696"/>
                <a:gd name="T37" fmla="*/ 644 h 694"/>
                <a:gd name="T38" fmla="*/ 582 w 696"/>
                <a:gd name="T39" fmla="*/ 605 h 694"/>
                <a:gd name="T40" fmla="*/ 626 w 696"/>
                <a:gd name="T41" fmla="*/ 555 h 694"/>
                <a:gd name="T42" fmla="*/ 661 w 696"/>
                <a:gd name="T43" fmla="*/ 499 h 694"/>
                <a:gd name="T44" fmla="*/ 684 w 696"/>
                <a:gd name="T45" fmla="*/ 434 h 694"/>
                <a:gd name="T46" fmla="*/ 696 w 696"/>
                <a:gd name="T47" fmla="*/ 365 h 694"/>
                <a:gd name="T48" fmla="*/ 691 w 696"/>
                <a:gd name="T49" fmla="*/ 294 h 694"/>
                <a:gd name="T50" fmla="*/ 674 w 696"/>
                <a:gd name="T51" fmla="*/ 228 h 694"/>
                <a:gd name="T52" fmla="*/ 645 w 696"/>
                <a:gd name="T53" fmla="*/ 167 h 694"/>
                <a:gd name="T54" fmla="*/ 605 w 696"/>
                <a:gd name="T55" fmla="*/ 114 h 694"/>
                <a:gd name="T56" fmla="*/ 556 w 696"/>
                <a:gd name="T57" fmla="*/ 68 h 694"/>
                <a:gd name="T58" fmla="*/ 498 w 696"/>
                <a:gd name="T59" fmla="*/ 33 h 694"/>
                <a:gd name="T60" fmla="*/ 435 w 696"/>
                <a:gd name="T61" fmla="*/ 10 h 694"/>
                <a:gd name="T62" fmla="*/ 366 w 696"/>
                <a:gd name="T63" fmla="*/ 0 h 694"/>
                <a:gd name="T64" fmla="*/ 364 w 696"/>
                <a:gd name="T65" fmla="*/ 39 h 694"/>
                <a:gd name="T66" fmla="*/ 425 w 696"/>
                <a:gd name="T67" fmla="*/ 48 h 694"/>
                <a:gd name="T68" fmla="*/ 481 w 696"/>
                <a:gd name="T69" fmla="*/ 69 h 694"/>
                <a:gd name="T70" fmla="*/ 544 w 696"/>
                <a:gd name="T71" fmla="*/ 108 h 694"/>
                <a:gd name="T72" fmla="*/ 612 w 696"/>
                <a:gd name="T73" fmla="*/ 187 h 694"/>
                <a:gd name="T74" fmla="*/ 638 w 696"/>
                <a:gd name="T75" fmla="*/ 241 h 694"/>
                <a:gd name="T76" fmla="*/ 654 w 696"/>
                <a:gd name="T77" fmla="*/ 300 h 694"/>
                <a:gd name="T78" fmla="*/ 657 w 696"/>
                <a:gd name="T79" fmla="*/ 363 h 694"/>
                <a:gd name="T80" fmla="*/ 647 w 696"/>
                <a:gd name="T81" fmla="*/ 424 h 694"/>
                <a:gd name="T82" fmla="*/ 626 w 696"/>
                <a:gd name="T83" fmla="*/ 481 h 694"/>
                <a:gd name="T84" fmla="*/ 586 w 696"/>
                <a:gd name="T85" fmla="*/ 543 h 694"/>
                <a:gd name="T86" fmla="*/ 508 w 696"/>
                <a:gd name="T87" fmla="*/ 611 h 694"/>
                <a:gd name="T88" fmla="*/ 454 w 696"/>
                <a:gd name="T89" fmla="*/ 637 h 694"/>
                <a:gd name="T90" fmla="*/ 395 w 696"/>
                <a:gd name="T91" fmla="*/ 653 h 694"/>
                <a:gd name="T92" fmla="*/ 331 w 696"/>
                <a:gd name="T93" fmla="*/ 656 h 694"/>
                <a:gd name="T94" fmla="*/ 271 w 696"/>
                <a:gd name="T95" fmla="*/ 647 h 694"/>
                <a:gd name="T96" fmla="*/ 215 w 696"/>
                <a:gd name="T97" fmla="*/ 625 h 694"/>
                <a:gd name="T98" fmla="*/ 151 w 696"/>
                <a:gd name="T99" fmla="*/ 585 h 694"/>
                <a:gd name="T100" fmla="*/ 84 w 696"/>
                <a:gd name="T101" fmla="*/ 507 h 694"/>
                <a:gd name="T102" fmla="*/ 58 w 696"/>
                <a:gd name="T103" fmla="*/ 454 h 694"/>
                <a:gd name="T104" fmla="*/ 42 w 696"/>
                <a:gd name="T105" fmla="*/ 395 h 694"/>
                <a:gd name="T106" fmla="*/ 39 w 696"/>
                <a:gd name="T107" fmla="*/ 331 h 694"/>
                <a:gd name="T108" fmla="*/ 49 w 696"/>
                <a:gd name="T109" fmla="*/ 270 h 694"/>
                <a:gd name="T110" fmla="*/ 69 w 696"/>
                <a:gd name="T111" fmla="*/ 213 h 694"/>
                <a:gd name="T112" fmla="*/ 109 w 696"/>
                <a:gd name="T113" fmla="*/ 150 h 694"/>
                <a:gd name="T114" fmla="*/ 187 w 696"/>
                <a:gd name="T115" fmla="*/ 82 h 694"/>
                <a:gd name="T116" fmla="*/ 242 w 696"/>
                <a:gd name="T117" fmla="*/ 56 h 694"/>
                <a:gd name="T118" fmla="*/ 301 w 696"/>
                <a:gd name="T119" fmla="*/ 42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96" h="694">
                  <a:moveTo>
                    <a:pt x="349" y="0"/>
                  </a:moveTo>
                  <a:lnTo>
                    <a:pt x="330" y="0"/>
                  </a:lnTo>
                  <a:lnTo>
                    <a:pt x="313" y="2"/>
                  </a:lnTo>
                  <a:lnTo>
                    <a:pt x="295" y="3"/>
                  </a:lnTo>
                  <a:lnTo>
                    <a:pt x="278" y="6"/>
                  </a:lnTo>
                  <a:lnTo>
                    <a:pt x="261" y="10"/>
                  </a:lnTo>
                  <a:lnTo>
                    <a:pt x="245" y="15"/>
                  </a:lnTo>
                  <a:lnTo>
                    <a:pt x="229" y="20"/>
                  </a:lnTo>
                  <a:lnTo>
                    <a:pt x="213" y="26"/>
                  </a:lnTo>
                  <a:lnTo>
                    <a:pt x="197" y="33"/>
                  </a:lnTo>
                  <a:lnTo>
                    <a:pt x="181" y="42"/>
                  </a:lnTo>
                  <a:lnTo>
                    <a:pt x="167" y="49"/>
                  </a:lnTo>
                  <a:lnTo>
                    <a:pt x="154" y="59"/>
                  </a:lnTo>
                  <a:lnTo>
                    <a:pt x="140" y="68"/>
                  </a:lnTo>
                  <a:lnTo>
                    <a:pt x="127" y="79"/>
                  </a:lnTo>
                  <a:lnTo>
                    <a:pt x="114" y="89"/>
                  </a:lnTo>
                  <a:lnTo>
                    <a:pt x="102" y="101"/>
                  </a:lnTo>
                  <a:lnTo>
                    <a:pt x="91" y="114"/>
                  </a:lnTo>
                  <a:lnTo>
                    <a:pt x="79" y="125"/>
                  </a:lnTo>
                  <a:lnTo>
                    <a:pt x="69" y="138"/>
                  </a:lnTo>
                  <a:lnTo>
                    <a:pt x="59" y="153"/>
                  </a:lnTo>
                  <a:lnTo>
                    <a:pt x="50" y="167"/>
                  </a:lnTo>
                  <a:lnTo>
                    <a:pt x="42" y="182"/>
                  </a:lnTo>
                  <a:lnTo>
                    <a:pt x="35" y="196"/>
                  </a:lnTo>
                  <a:lnTo>
                    <a:pt x="27" y="212"/>
                  </a:lnTo>
                  <a:lnTo>
                    <a:pt x="22" y="228"/>
                  </a:lnTo>
                  <a:lnTo>
                    <a:pt x="16" y="244"/>
                  </a:lnTo>
                  <a:lnTo>
                    <a:pt x="12" y="261"/>
                  </a:lnTo>
                  <a:lnTo>
                    <a:pt x="7" y="277"/>
                  </a:lnTo>
                  <a:lnTo>
                    <a:pt x="4" y="294"/>
                  </a:lnTo>
                  <a:lnTo>
                    <a:pt x="1" y="311"/>
                  </a:lnTo>
                  <a:lnTo>
                    <a:pt x="0" y="329"/>
                  </a:lnTo>
                  <a:lnTo>
                    <a:pt x="0" y="347"/>
                  </a:lnTo>
                  <a:lnTo>
                    <a:pt x="0" y="365"/>
                  </a:lnTo>
                  <a:lnTo>
                    <a:pt x="1" y="383"/>
                  </a:lnTo>
                  <a:lnTo>
                    <a:pt x="4" y="401"/>
                  </a:lnTo>
                  <a:lnTo>
                    <a:pt x="7" y="418"/>
                  </a:lnTo>
                  <a:lnTo>
                    <a:pt x="12" y="434"/>
                  </a:lnTo>
                  <a:lnTo>
                    <a:pt x="16" y="451"/>
                  </a:lnTo>
                  <a:lnTo>
                    <a:pt x="22" y="467"/>
                  </a:lnTo>
                  <a:lnTo>
                    <a:pt x="27" y="483"/>
                  </a:lnTo>
                  <a:lnTo>
                    <a:pt x="35" y="499"/>
                  </a:lnTo>
                  <a:lnTo>
                    <a:pt x="42" y="513"/>
                  </a:lnTo>
                  <a:lnTo>
                    <a:pt x="50" y="527"/>
                  </a:lnTo>
                  <a:lnTo>
                    <a:pt x="59" y="542"/>
                  </a:lnTo>
                  <a:lnTo>
                    <a:pt x="69" y="555"/>
                  </a:lnTo>
                  <a:lnTo>
                    <a:pt x="79" y="568"/>
                  </a:lnTo>
                  <a:lnTo>
                    <a:pt x="91" y="581"/>
                  </a:lnTo>
                  <a:lnTo>
                    <a:pt x="102" y="594"/>
                  </a:lnTo>
                  <a:lnTo>
                    <a:pt x="114" y="605"/>
                  </a:lnTo>
                  <a:lnTo>
                    <a:pt x="127" y="615"/>
                  </a:lnTo>
                  <a:lnTo>
                    <a:pt x="140" y="625"/>
                  </a:lnTo>
                  <a:lnTo>
                    <a:pt x="154" y="635"/>
                  </a:lnTo>
                  <a:lnTo>
                    <a:pt x="167" y="644"/>
                  </a:lnTo>
                  <a:lnTo>
                    <a:pt x="181" y="653"/>
                  </a:lnTo>
                  <a:lnTo>
                    <a:pt x="197" y="660"/>
                  </a:lnTo>
                  <a:lnTo>
                    <a:pt x="213" y="667"/>
                  </a:lnTo>
                  <a:lnTo>
                    <a:pt x="229" y="674"/>
                  </a:lnTo>
                  <a:lnTo>
                    <a:pt x="245" y="679"/>
                  </a:lnTo>
                  <a:lnTo>
                    <a:pt x="261" y="684"/>
                  </a:lnTo>
                  <a:lnTo>
                    <a:pt x="278" y="687"/>
                  </a:lnTo>
                  <a:lnTo>
                    <a:pt x="295" y="690"/>
                  </a:lnTo>
                  <a:lnTo>
                    <a:pt x="313" y="693"/>
                  </a:lnTo>
                  <a:lnTo>
                    <a:pt x="330" y="694"/>
                  </a:lnTo>
                  <a:lnTo>
                    <a:pt x="349" y="694"/>
                  </a:lnTo>
                  <a:lnTo>
                    <a:pt x="366" y="694"/>
                  </a:lnTo>
                  <a:lnTo>
                    <a:pt x="383" y="693"/>
                  </a:lnTo>
                  <a:lnTo>
                    <a:pt x="400" y="690"/>
                  </a:lnTo>
                  <a:lnTo>
                    <a:pt x="418" y="687"/>
                  </a:lnTo>
                  <a:lnTo>
                    <a:pt x="435" y="684"/>
                  </a:lnTo>
                  <a:lnTo>
                    <a:pt x="451" y="679"/>
                  </a:lnTo>
                  <a:lnTo>
                    <a:pt x="468" y="674"/>
                  </a:lnTo>
                  <a:lnTo>
                    <a:pt x="482" y="667"/>
                  </a:lnTo>
                  <a:lnTo>
                    <a:pt x="498" y="660"/>
                  </a:lnTo>
                  <a:lnTo>
                    <a:pt x="514" y="653"/>
                  </a:lnTo>
                  <a:lnTo>
                    <a:pt x="529" y="644"/>
                  </a:lnTo>
                  <a:lnTo>
                    <a:pt x="541" y="635"/>
                  </a:lnTo>
                  <a:lnTo>
                    <a:pt x="556" y="625"/>
                  </a:lnTo>
                  <a:lnTo>
                    <a:pt x="569" y="615"/>
                  </a:lnTo>
                  <a:lnTo>
                    <a:pt x="582" y="605"/>
                  </a:lnTo>
                  <a:lnTo>
                    <a:pt x="593" y="594"/>
                  </a:lnTo>
                  <a:lnTo>
                    <a:pt x="605" y="581"/>
                  </a:lnTo>
                  <a:lnTo>
                    <a:pt x="616" y="568"/>
                  </a:lnTo>
                  <a:lnTo>
                    <a:pt x="626" y="555"/>
                  </a:lnTo>
                  <a:lnTo>
                    <a:pt x="637" y="542"/>
                  </a:lnTo>
                  <a:lnTo>
                    <a:pt x="645" y="527"/>
                  </a:lnTo>
                  <a:lnTo>
                    <a:pt x="654" y="513"/>
                  </a:lnTo>
                  <a:lnTo>
                    <a:pt x="661" y="499"/>
                  </a:lnTo>
                  <a:lnTo>
                    <a:pt x="668" y="483"/>
                  </a:lnTo>
                  <a:lnTo>
                    <a:pt x="674" y="467"/>
                  </a:lnTo>
                  <a:lnTo>
                    <a:pt x="680" y="451"/>
                  </a:lnTo>
                  <a:lnTo>
                    <a:pt x="684" y="434"/>
                  </a:lnTo>
                  <a:lnTo>
                    <a:pt x="688" y="418"/>
                  </a:lnTo>
                  <a:lnTo>
                    <a:pt x="691" y="401"/>
                  </a:lnTo>
                  <a:lnTo>
                    <a:pt x="694" y="383"/>
                  </a:lnTo>
                  <a:lnTo>
                    <a:pt x="696" y="365"/>
                  </a:lnTo>
                  <a:lnTo>
                    <a:pt x="696" y="347"/>
                  </a:lnTo>
                  <a:lnTo>
                    <a:pt x="696" y="329"/>
                  </a:lnTo>
                  <a:lnTo>
                    <a:pt x="694" y="311"/>
                  </a:lnTo>
                  <a:lnTo>
                    <a:pt x="691" y="294"/>
                  </a:lnTo>
                  <a:lnTo>
                    <a:pt x="688" y="277"/>
                  </a:lnTo>
                  <a:lnTo>
                    <a:pt x="684" y="261"/>
                  </a:lnTo>
                  <a:lnTo>
                    <a:pt x="680" y="244"/>
                  </a:lnTo>
                  <a:lnTo>
                    <a:pt x="674" y="228"/>
                  </a:lnTo>
                  <a:lnTo>
                    <a:pt x="668" y="212"/>
                  </a:lnTo>
                  <a:lnTo>
                    <a:pt x="661" y="196"/>
                  </a:lnTo>
                  <a:lnTo>
                    <a:pt x="654" y="182"/>
                  </a:lnTo>
                  <a:lnTo>
                    <a:pt x="645" y="167"/>
                  </a:lnTo>
                  <a:lnTo>
                    <a:pt x="637" y="153"/>
                  </a:lnTo>
                  <a:lnTo>
                    <a:pt x="626" y="138"/>
                  </a:lnTo>
                  <a:lnTo>
                    <a:pt x="616" y="125"/>
                  </a:lnTo>
                  <a:lnTo>
                    <a:pt x="605" y="114"/>
                  </a:lnTo>
                  <a:lnTo>
                    <a:pt x="593" y="101"/>
                  </a:lnTo>
                  <a:lnTo>
                    <a:pt x="582" y="89"/>
                  </a:lnTo>
                  <a:lnTo>
                    <a:pt x="569" y="79"/>
                  </a:lnTo>
                  <a:lnTo>
                    <a:pt x="556" y="68"/>
                  </a:lnTo>
                  <a:lnTo>
                    <a:pt x="541" y="59"/>
                  </a:lnTo>
                  <a:lnTo>
                    <a:pt x="529" y="49"/>
                  </a:lnTo>
                  <a:lnTo>
                    <a:pt x="514" y="42"/>
                  </a:lnTo>
                  <a:lnTo>
                    <a:pt x="498" y="33"/>
                  </a:lnTo>
                  <a:lnTo>
                    <a:pt x="482" y="26"/>
                  </a:lnTo>
                  <a:lnTo>
                    <a:pt x="468" y="20"/>
                  </a:lnTo>
                  <a:lnTo>
                    <a:pt x="451" y="15"/>
                  </a:lnTo>
                  <a:lnTo>
                    <a:pt x="435" y="10"/>
                  </a:lnTo>
                  <a:lnTo>
                    <a:pt x="418" y="6"/>
                  </a:lnTo>
                  <a:lnTo>
                    <a:pt x="400" y="3"/>
                  </a:lnTo>
                  <a:lnTo>
                    <a:pt x="383" y="2"/>
                  </a:lnTo>
                  <a:lnTo>
                    <a:pt x="366" y="0"/>
                  </a:lnTo>
                  <a:lnTo>
                    <a:pt x="349" y="0"/>
                  </a:lnTo>
                  <a:lnTo>
                    <a:pt x="349" y="0"/>
                  </a:lnTo>
                  <a:close/>
                  <a:moveTo>
                    <a:pt x="349" y="38"/>
                  </a:moveTo>
                  <a:lnTo>
                    <a:pt x="364" y="39"/>
                  </a:lnTo>
                  <a:lnTo>
                    <a:pt x="379" y="39"/>
                  </a:lnTo>
                  <a:lnTo>
                    <a:pt x="395" y="42"/>
                  </a:lnTo>
                  <a:lnTo>
                    <a:pt x="410" y="45"/>
                  </a:lnTo>
                  <a:lnTo>
                    <a:pt x="425" y="48"/>
                  </a:lnTo>
                  <a:lnTo>
                    <a:pt x="439" y="52"/>
                  </a:lnTo>
                  <a:lnTo>
                    <a:pt x="454" y="56"/>
                  </a:lnTo>
                  <a:lnTo>
                    <a:pt x="468" y="62"/>
                  </a:lnTo>
                  <a:lnTo>
                    <a:pt x="481" y="69"/>
                  </a:lnTo>
                  <a:lnTo>
                    <a:pt x="495" y="75"/>
                  </a:lnTo>
                  <a:lnTo>
                    <a:pt x="508" y="82"/>
                  </a:lnTo>
                  <a:lnTo>
                    <a:pt x="520" y="91"/>
                  </a:lnTo>
                  <a:lnTo>
                    <a:pt x="544" y="108"/>
                  </a:lnTo>
                  <a:lnTo>
                    <a:pt x="566" y="128"/>
                  </a:lnTo>
                  <a:lnTo>
                    <a:pt x="586" y="150"/>
                  </a:lnTo>
                  <a:lnTo>
                    <a:pt x="603" y="174"/>
                  </a:lnTo>
                  <a:lnTo>
                    <a:pt x="612" y="187"/>
                  </a:lnTo>
                  <a:lnTo>
                    <a:pt x="619" y="200"/>
                  </a:lnTo>
                  <a:lnTo>
                    <a:pt x="626" y="213"/>
                  </a:lnTo>
                  <a:lnTo>
                    <a:pt x="632" y="226"/>
                  </a:lnTo>
                  <a:lnTo>
                    <a:pt x="638" y="241"/>
                  </a:lnTo>
                  <a:lnTo>
                    <a:pt x="642" y="255"/>
                  </a:lnTo>
                  <a:lnTo>
                    <a:pt x="647" y="270"/>
                  </a:lnTo>
                  <a:lnTo>
                    <a:pt x="651" y="285"/>
                  </a:lnTo>
                  <a:lnTo>
                    <a:pt x="654" y="300"/>
                  </a:lnTo>
                  <a:lnTo>
                    <a:pt x="655" y="316"/>
                  </a:lnTo>
                  <a:lnTo>
                    <a:pt x="657" y="331"/>
                  </a:lnTo>
                  <a:lnTo>
                    <a:pt x="657" y="347"/>
                  </a:lnTo>
                  <a:lnTo>
                    <a:pt x="657" y="363"/>
                  </a:lnTo>
                  <a:lnTo>
                    <a:pt x="655" y="379"/>
                  </a:lnTo>
                  <a:lnTo>
                    <a:pt x="654" y="395"/>
                  </a:lnTo>
                  <a:lnTo>
                    <a:pt x="651" y="409"/>
                  </a:lnTo>
                  <a:lnTo>
                    <a:pt x="647" y="424"/>
                  </a:lnTo>
                  <a:lnTo>
                    <a:pt x="642" y="439"/>
                  </a:lnTo>
                  <a:lnTo>
                    <a:pt x="638" y="454"/>
                  </a:lnTo>
                  <a:lnTo>
                    <a:pt x="632" y="467"/>
                  </a:lnTo>
                  <a:lnTo>
                    <a:pt x="626" y="481"/>
                  </a:lnTo>
                  <a:lnTo>
                    <a:pt x="619" y="494"/>
                  </a:lnTo>
                  <a:lnTo>
                    <a:pt x="612" y="507"/>
                  </a:lnTo>
                  <a:lnTo>
                    <a:pt x="603" y="520"/>
                  </a:lnTo>
                  <a:lnTo>
                    <a:pt x="586" y="543"/>
                  </a:lnTo>
                  <a:lnTo>
                    <a:pt x="566" y="566"/>
                  </a:lnTo>
                  <a:lnTo>
                    <a:pt x="544" y="585"/>
                  </a:lnTo>
                  <a:lnTo>
                    <a:pt x="520" y="604"/>
                  </a:lnTo>
                  <a:lnTo>
                    <a:pt x="508" y="611"/>
                  </a:lnTo>
                  <a:lnTo>
                    <a:pt x="495" y="618"/>
                  </a:lnTo>
                  <a:lnTo>
                    <a:pt x="481" y="625"/>
                  </a:lnTo>
                  <a:lnTo>
                    <a:pt x="468" y="632"/>
                  </a:lnTo>
                  <a:lnTo>
                    <a:pt x="454" y="637"/>
                  </a:lnTo>
                  <a:lnTo>
                    <a:pt x="439" y="643"/>
                  </a:lnTo>
                  <a:lnTo>
                    <a:pt x="425" y="647"/>
                  </a:lnTo>
                  <a:lnTo>
                    <a:pt x="410" y="650"/>
                  </a:lnTo>
                  <a:lnTo>
                    <a:pt x="395" y="653"/>
                  </a:lnTo>
                  <a:lnTo>
                    <a:pt x="379" y="654"/>
                  </a:lnTo>
                  <a:lnTo>
                    <a:pt x="364" y="656"/>
                  </a:lnTo>
                  <a:lnTo>
                    <a:pt x="349" y="656"/>
                  </a:lnTo>
                  <a:lnTo>
                    <a:pt x="331" y="656"/>
                  </a:lnTo>
                  <a:lnTo>
                    <a:pt x="317" y="654"/>
                  </a:lnTo>
                  <a:lnTo>
                    <a:pt x="301" y="653"/>
                  </a:lnTo>
                  <a:lnTo>
                    <a:pt x="285" y="650"/>
                  </a:lnTo>
                  <a:lnTo>
                    <a:pt x="271" y="647"/>
                  </a:lnTo>
                  <a:lnTo>
                    <a:pt x="256" y="643"/>
                  </a:lnTo>
                  <a:lnTo>
                    <a:pt x="242" y="637"/>
                  </a:lnTo>
                  <a:lnTo>
                    <a:pt x="228" y="632"/>
                  </a:lnTo>
                  <a:lnTo>
                    <a:pt x="215" y="625"/>
                  </a:lnTo>
                  <a:lnTo>
                    <a:pt x="200" y="618"/>
                  </a:lnTo>
                  <a:lnTo>
                    <a:pt x="187" y="611"/>
                  </a:lnTo>
                  <a:lnTo>
                    <a:pt x="176" y="604"/>
                  </a:lnTo>
                  <a:lnTo>
                    <a:pt x="151" y="585"/>
                  </a:lnTo>
                  <a:lnTo>
                    <a:pt x="130" y="566"/>
                  </a:lnTo>
                  <a:lnTo>
                    <a:pt x="109" y="543"/>
                  </a:lnTo>
                  <a:lnTo>
                    <a:pt x="92" y="520"/>
                  </a:lnTo>
                  <a:lnTo>
                    <a:pt x="84" y="507"/>
                  </a:lnTo>
                  <a:lnTo>
                    <a:pt x="76" y="494"/>
                  </a:lnTo>
                  <a:lnTo>
                    <a:pt x="69" y="481"/>
                  </a:lnTo>
                  <a:lnTo>
                    <a:pt x="63" y="467"/>
                  </a:lnTo>
                  <a:lnTo>
                    <a:pt x="58" y="454"/>
                  </a:lnTo>
                  <a:lnTo>
                    <a:pt x="53" y="439"/>
                  </a:lnTo>
                  <a:lnTo>
                    <a:pt x="49" y="424"/>
                  </a:lnTo>
                  <a:lnTo>
                    <a:pt x="45" y="409"/>
                  </a:lnTo>
                  <a:lnTo>
                    <a:pt x="42" y="395"/>
                  </a:lnTo>
                  <a:lnTo>
                    <a:pt x="40" y="379"/>
                  </a:lnTo>
                  <a:lnTo>
                    <a:pt x="39" y="363"/>
                  </a:lnTo>
                  <a:lnTo>
                    <a:pt x="39" y="347"/>
                  </a:lnTo>
                  <a:lnTo>
                    <a:pt x="39" y="331"/>
                  </a:lnTo>
                  <a:lnTo>
                    <a:pt x="40" y="316"/>
                  </a:lnTo>
                  <a:lnTo>
                    <a:pt x="42" y="300"/>
                  </a:lnTo>
                  <a:lnTo>
                    <a:pt x="45" y="285"/>
                  </a:lnTo>
                  <a:lnTo>
                    <a:pt x="49" y="270"/>
                  </a:lnTo>
                  <a:lnTo>
                    <a:pt x="53" y="255"/>
                  </a:lnTo>
                  <a:lnTo>
                    <a:pt x="58" y="241"/>
                  </a:lnTo>
                  <a:lnTo>
                    <a:pt x="63" y="226"/>
                  </a:lnTo>
                  <a:lnTo>
                    <a:pt x="69" y="213"/>
                  </a:lnTo>
                  <a:lnTo>
                    <a:pt x="76" y="200"/>
                  </a:lnTo>
                  <a:lnTo>
                    <a:pt x="84" y="187"/>
                  </a:lnTo>
                  <a:lnTo>
                    <a:pt x="92" y="174"/>
                  </a:lnTo>
                  <a:lnTo>
                    <a:pt x="109" y="150"/>
                  </a:lnTo>
                  <a:lnTo>
                    <a:pt x="130" y="128"/>
                  </a:lnTo>
                  <a:lnTo>
                    <a:pt x="151" y="108"/>
                  </a:lnTo>
                  <a:lnTo>
                    <a:pt x="176" y="91"/>
                  </a:lnTo>
                  <a:lnTo>
                    <a:pt x="187" y="82"/>
                  </a:lnTo>
                  <a:lnTo>
                    <a:pt x="200" y="75"/>
                  </a:lnTo>
                  <a:lnTo>
                    <a:pt x="215" y="69"/>
                  </a:lnTo>
                  <a:lnTo>
                    <a:pt x="228" y="62"/>
                  </a:lnTo>
                  <a:lnTo>
                    <a:pt x="242" y="56"/>
                  </a:lnTo>
                  <a:lnTo>
                    <a:pt x="256" y="52"/>
                  </a:lnTo>
                  <a:lnTo>
                    <a:pt x="271" y="48"/>
                  </a:lnTo>
                  <a:lnTo>
                    <a:pt x="285" y="45"/>
                  </a:lnTo>
                  <a:lnTo>
                    <a:pt x="301" y="42"/>
                  </a:lnTo>
                  <a:lnTo>
                    <a:pt x="317" y="39"/>
                  </a:lnTo>
                  <a:lnTo>
                    <a:pt x="331" y="39"/>
                  </a:lnTo>
                  <a:lnTo>
                    <a:pt x="349" y="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18" name="Freeform 235"/>
            <p:cNvSpPr>
              <a:spLocks/>
            </p:cNvSpPr>
            <p:nvPr/>
          </p:nvSpPr>
          <p:spPr bwMode="auto">
            <a:xfrm>
              <a:off x="7369992" y="534490"/>
              <a:ext cx="219855" cy="219855"/>
            </a:xfrm>
            <a:custGeom>
              <a:avLst/>
              <a:gdLst>
                <a:gd name="T0" fmla="*/ 425 w 452"/>
                <a:gd name="T1" fmla="*/ 0 h 452"/>
                <a:gd name="T2" fmla="*/ 452 w 452"/>
                <a:gd name="T3" fmla="*/ 27 h 452"/>
                <a:gd name="T4" fmla="*/ 27 w 452"/>
                <a:gd name="T5" fmla="*/ 452 h 452"/>
                <a:gd name="T6" fmla="*/ 0 w 452"/>
                <a:gd name="T7" fmla="*/ 425 h 452"/>
                <a:gd name="T8" fmla="*/ 425 w 452"/>
                <a:gd name="T9" fmla="*/ 0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2" h="452">
                  <a:moveTo>
                    <a:pt x="425" y="0"/>
                  </a:moveTo>
                  <a:lnTo>
                    <a:pt x="452" y="27"/>
                  </a:lnTo>
                  <a:lnTo>
                    <a:pt x="27" y="452"/>
                  </a:lnTo>
                  <a:lnTo>
                    <a:pt x="0" y="425"/>
                  </a:lnTo>
                  <a:lnTo>
                    <a:pt x="42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19" name="Freeform 236"/>
            <p:cNvSpPr>
              <a:spLocks noEditPoints="1"/>
            </p:cNvSpPr>
            <p:nvPr/>
          </p:nvSpPr>
          <p:spPr bwMode="auto">
            <a:xfrm>
              <a:off x="7496663" y="484986"/>
              <a:ext cx="142687" cy="144143"/>
            </a:xfrm>
            <a:custGeom>
              <a:avLst/>
              <a:gdLst>
                <a:gd name="T0" fmla="*/ 184 w 294"/>
                <a:gd name="T1" fmla="*/ 4 h 295"/>
                <a:gd name="T2" fmla="*/ 129 w 294"/>
                <a:gd name="T3" fmla="*/ 27 h 295"/>
                <a:gd name="T4" fmla="*/ 85 w 294"/>
                <a:gd name="T5" fmla="*/ 53 h 295"/>
                <a:gd name="T6" fmla="*/ 52 w 294"/>
                <a:gd name="T7" fmla="*/ 76 h 295"/>
                <a:gd name="T8" fmla="*/ 31 w 294"/>
                <a:gd name="T9" fmla="*/ 95 h 295"/>
                <a:gd name="T10" fmla="*/ 16 w 294"/>
                <a:gd name="T11" fmla="*/ 114 h 295"/>
                <a:gd name="T12" fmla="*/ 6 w 294"/>
                <a:gd name="T13" fmla="*/ 135 h 295"/>
                <a:gd name="T14" fmla="*/ 0 w 294"/>
                <a:gd name="T15" fmla="*/ 158 h 295"/>
                <a:gd name="T16" fmla="*/ 1 w 294"/>
                <a:gd name="T17" fmla="*/ 183 h 295"/>
                <a:gd name="T18" fmla="*/ 11 w 294"/>
                <a:gd name="T19" fmla="*/ 210 h 295"/>
                <a:gd name="T20" fmla="*/ 30 w 294"/>
                <a:gd name="T21" fmla="*/ 237 h 295"/>
                <a:gd name="T22" fmla="*/ 54 w 294"/>
                <a:gd name="T23" fmla="*/ 262 h 295"/>
                <a:gd name="T24" fmla="*/ 76 w 294"/>
                <a:gd name="T25" fmla="*/ 279 h 295"/>
                <a:gd name="T26" fmla="*/ 98 w 294"/>
                <a:gd name="T27" fmla="*/ 289 h 295"/>
                <a:gd name="T28" fmla="*/ 118 w 294"/>
                <a:gd name="T29" fmla="*/ 294 h 295"/>
                <a:gd name="T30" fmla="*/ 138 w 294"/>
                <a:gd name="T31" fmla="*/ 294 h 295"/>
                <a:gd name="T32" fmla="*/ 155 w 294"/>
                <a:gd name="T33" fmla="*/ 289 h 295"/>
                <a:gd name="T34" fmla="*/ 174 w 294"/>
                <a:gd name="T35" fmla="*/ 282 h 295"/>
                <a:gd name="T36" fmla="*/ 190 w 294"/>
                <a:gd name="T37" fmla="*/ 271 h 295"/>
                <a:gd name="T38" fmla="*/ 213 w 294"/>
                <a:gd name="T39" fmla="*/ 249 h 295"/>
                <a:gd name="T40" fmla="*/ 239 w 294"/>
                <a:gd name="T41" fmla="*/ 214 h 295"/>
                <a:gd name="T42" fmla="*/ 269 w 294"/>
                <a:gd name="T43" fmla="*/ 160 h 295"/>
                <a:gd name="T44" fmla="*/ 291 w 294"/>
                <a:gd name="T45" fmla="*/ 105 h 295"/>
                <a:gd name="T46" fmla="*/ 197 w 294"/>
                <a:gd name="T47" fmla="*/ 96 h 295"/>
                <a:gd name="T48" fmla="*/ 158 w 294"/>
                <a:gd name="T49" fmla="*/ 56 h 295"/>
                <a:gd name="T50" fmla="*/ 158 w 294"/>
                <a:gd name="T51" fmla="*/ 135 h 295"/>
                <a:gd name="T52" fmla="*/ 237 w 294"/>
                <a:gd name="T53" fmla="*/ 135 h 295"/>
                <a:gd name="T54" fmla="*/ 216 w 294"/>
                <a:gd name="T55" fmla="*/ 178 h 295"/>
                <a:gd name="T56" fmla="*/ 188 w 294"/>
                <a:gd name="T57" fmla="*/ 217 h 295"/>
                <a:gd name="T58" fmla="*/ 174 w 294"/>
                <a:gd name="T59" fmla="*/ 233 h 295"/>
                <a:gd name="T60" fmla="*/ 160 w 294"/>
                <a:gd name="T61" fmla="*/ 245 h 295"/>
                <a:gd name="T62" fmla="*/ 144 w 294"/>
                <a:gd name="T63" fmla="*/ 253 h 295"/>
                <a:gd name="T64" fmla="*/ 128 w 294"/>
                <a:gd name="T65" fmla="*/ 256 h 295"/>
                <a:gd name="T66" fmla="*/ 115 w 294"/>
                <a:gd name="T67" fmla="*/ 255 h 295"/>
                <a:gd name="T68" fmla="*/ 101 w 294"/>
                <a:gd name="T69" fmla="*/ 247 h 295"/>
                <a:gd name="T70" fmla="*/ 70 w 294"/>
                <a:gd name="T71" fmla="*/ 224 h 295"/>
                <a:gd name="T72" fmla="*/ 49 w 294"/>
                <a:gd name="T73" fmla="*/ 198 h 295"/>
                <a:gd name="T74" fmla="*/ 40 w 294"/>
                <a:gd name="T75" fmla="*/ 178 h 295"/>
                <a:gd name="T76" fmla="*/ 37 w 294"/>
                <a:gd name="T77" fmla="*/ 164 h 295"/>
                <a:gd name="T78" fmla="*/ 39 w 294"/>
                <a:gd name="T79" fmla="*/ 155 h 295"/>
                <a:gd name="T80" fmla="*/ 44 w 294"/>
                <a:gd name="T81" fmla="*/ 141 h 295"/>
                <a:gd name="T82" fmla="*/ 54 w 294"/>
                <a:gd name="T83" fmla="*/ 126 h 295"/>
                <a:gd name="T84" fmla="*/ 82 w 294"/>
                <a:gd name="T85" fmla="*/ 101 h 295"/>
                <a:gd name="T86" fmla="*/ 119 w 294"/>
                <a:gd name="T87" fmla="*/ 76 h 295"/>
                <a:gd name="T88" fmla="*/ 158 w 294"/>
                <a:gd name="T89" fmla="*/ 5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4" h="295">
                  <a:moveTo>
                    <a:pt x="197" y="0"/>
                  </a:moveTo>
                  <a:lnTo>
                    <a:pt x="184" y="4"/>
                  </a:lnTo>
                  <a:lnTo>
                    <a:pt x="151" y="18"/>
                  </a:lnTo>
                  <a:lnTo>
                    <a:pt x="129" y="27"/>
                  </a:lnTo>
                  <a:lnTo>
                    <a:pt x="108" y="39"/>
                  </a:lnTo>
                  <a:lnTo>
                    <a:pt x="85" y="53"/>
                  </a:lnTo>
                  <a:lnTo>
                    <a:pt x="62" y="67"/>
                  </a:lnTo>
                  <a:lnTo>
                    <a:pt x="52" y="76"/>
                  </a:lnTo>
                  <a:lnTo>
                    <a:pt x="42" y="85"/>
                  </a:lnTo>
                  <a:lnTo>
                    <a:pt x="31" y="95"/>
                  </a:lnTo>
                  <a:lnTo>
                    <a:pt x="23" y="103"/>
                  </a:lnTo>
                  <a:lnTo>
                    <a:pt x="16" y="114"/>
                  </a:lnTo>
                  <a:lnTo>
                    <a:pt x="10" y="125"/>
                  </a:lnTo>
                  <a:lnTo>
                    <a:pt x="6" y="135"/>
                  </a:lnTo>
                  <a:lnTo>
                    <a:pt x="1" y="147"/>
                  </a:lnTo>
                  <a:lnTo>
                    <a:pt x="0" y="158"/>
                  </a:lnTo>
                  <a:lnTo>
                    <a:pt x="0" y="171"/>
                  </a:lnTo>
                  <a:lnTo>
                    <a:pt x="1" y="183"/>
                  </a:lnTo>
                  <a:lnTo>
                    <a:pt x="4" y="196"/>
                  </a:lnTo>
                  <a:lnTo>
                    <a:pt x="11" y="210"/>
                  </a:lnTo>
                  <a:lnTo>
                    <a:pt x="18" y="223"/>
                  </a:lnTo>
                  <a:lnTo>
                    <a:pt x="30" y="237"/>
                  </a:lnTo>
                  <a:lnTo>
                    <a:pt x="43" y="252"/>
                  </a:lnTo>
                  <a:lnTo>
                    <a:pt x="54" y="262"/>
                  </a:lnTo>
                  <a:lnTo>
                    <a:pt x="65" y="271"/>
                  </a:lnTo>
                  <a:lnTo>
                    <a:pt x="76" y="279"/>
                  </a:lnTo>
                  <a:lnTo>
                    <a:pt x="88" y="285"/>
                  </a:lnTo>
                  <a:lnTo>
                    <a:pt x="98" y="289"/>
                  </a:lnTo>
                  <a:lnTo>
                    <a:pt x="108" y="292"/>
                  </a:lnTo>
                  <a:lnTo>
                    <a:pt x="118" y="294"/>
                  </a:lnTo>
                  <a:lnTo>
                    <a:pt x="128" y="295"/>
                  </a:lnTo>
                  <a:lnTo>
                    <a:pt x="138" y="294"/>
                  </a:lnTo>
                  <a:lnTo>
                    <a:pt x="147" y="292"/>
                  </a:lnTo>
                  <a:lnTo>
                    <a:pt x="155" y="289"/>
                  </a:lnTo>
                  <a:lnTo>
                    <a:pt x="165" y="286"/>
                  </a:lnTo>
                  <a:lnTo>
                    <a:pt x="174" y="282"/>
                  </a:lnTo>
                  <a:lnTo>
                    <a:pt x="181" y="276"/>
                  </a:lnTo>
                  <a:lnTo>
                    <a:pt x="190" y="271"/>
                  </a:lnTo>
                  <a:lnTo>
                    <a:pt x="197" y="263"/>
                  </a:lnTo>
                  <a:lnTo>
                    <a:pt x="213" y="249"/>
                  </a:lnTo>
                  <a:lnTo>
                    <a:pt x="226" y="232"/>
                  </a:lnTo>
                  <a:lnTo>
                    <a:pt x="239" y="214"/>
                  </a:lnTo>
                  <a:lnTo>
                    <a:pt x="250" y="196"/>
                  </a:lnTo>
                  <a:lnTo>
                    <a:pt x="269" y="160"/>
                  </a:lnTo>
                  <a:lnTo>
                    <a:pt x="282" y="128"/>
                  </a:lnTo>
                  <a:lnTo>
                    <a:pt x="291" y="105"/>
                  </a:lnTo>
                  <a:lnTo>
                    <a:pt x="294" y="96"/>
                  </a:lnTo>
                  <a:lnTo>
                    <a:pt x="197" y="96"/>
                  </a:lnTo>
                  <a:lnTo>
                    <a:pt x="197" y="0"/>
                  </a:lnTo>
                  <a:close/>
                  <a:moveTo>
                    <a:pt x="158" y="56"/>
                  </a:moveTo>
                  <a:lnTo>
                    <a:pt x="158" y="96"/>
                  </a:lnTo>
                  <a:lnTo>
                    <a:pt x="158" y="135"/>
                  </a:lnTo>
                  <a:lnTo>
                    <a:pt x="197" y="135"/>
                  </a:lnTo>
                  <a:lnTo>
                    <a:pt x="237" y="135"/>
                  </a:lnTo>
                  <a:lnTo>
                    <a:pt x="227" y="157"/>
                  </a:lnTo>
                  <a:lnTo>
                    <a:pt x="216" y="178"/>
                  </a:lnTo>
                  <a:lnTo>
                    <a:pt x="203" y="198"/>
                  </a:lnTo>
                  <a:lnTo>
                    <a:pt x="188" y="217"/>
                  </a:lnTo>
                  <a:lnTo>
                    <a:pt x="181" y="224"/>
                  </a:lnTo>
                  <a:lnTo>
                    <a:pt x="174" y="233"/>
                  </a:lnTo>
                  <a:lnTo>
                    <a:pt x="167" y="239"/>
                  </a:lnTo>
                  <a:lnTo>
                    <a:pt x="160" y="245"/>
                  </a:lnTo>
                  <a:lnTo>
                    <a:pt x="151" y="250"/>
                  </a:lnTo>
                  <a:lnTo>
                    <a:pt x="144" y="253"/>
                  </a:lnTo>
                  <a:lnTo>
                    <a:pt x="137" y="255"/>
                  </a:lnTo>
                  <a:lnTo>
                    <a:pt x="128" y="256"/>
                  </a:lnTo>
                  <a:lnTo>
                    <a:pt x="121" y="256"/>
                  </a:lnTo>
                  <a:lnTo>
                    <a:pt x="115" y="255"/>
                  </a:lnTo>
                  <a:lnTo>
                    <a:pt x="108" y="252"/>
                  </a:lnTo>
                  <a:lnTo>
                    <a:pt x="101" y="247"/>
                  </a:lnTo>
                  <a:lnTo>
                    <a:pt x="85" y="237"/>
                  </a:lnTo>
                  <a:lnTo>
                    <a:pt x="70" y="224"/>
                  </a:lnTo>
                  <a:lnTo>
                    <a:pt x="57" y="210"/>
                  </a:lnTo>
                  <a:lnTo>
                    <a:pt x="49" y="198"/>
                  </a:lnTo>
                  <a:lnTo>
                    <a:pt x="43" y="187"/>
                  </a:lnTo>
                  <a:lnTo>
                    <a:pt x="40" y="178"/>
                  </a:lnTo>
                  <a:lnTo>
                    <a:pt x="39" y="170"/>
                  </a:lnTo>
                  <a:lnTo>
                    <a:pt x="37" y="164"/>
                  </a:lnTo>
                  <a:lnTo>
                    <a:pt x="39" y="160"/>
                  </a:lnTo>
                  <a:lnTo>
                    <a:pt x="39" y="155"/>
                  </a:lnTo>
                  <a:lnTo>
                    <a:pt x="42" y="148"/>
                  </a:lnTo>
                  <a:lnTo>
                    <a:pt x="44" y="141"/>
                  </a:lnTo>
                  <a:lnTo>
                    <a:pt x="49" y="134"/>
                  </a:lnTo>
                  <a:lnTo>
                    <a:pt x="54" y="126"/>
                  </a:lnTo>
                  <a:lnTo>
                    <a:pt x="67" y="114"/>
                  </a:lnTo>
                  <a:lnTo>
                    <a:pt x="82" y="101"/>
                  </a:lnTo>
                  <a:lnTo>
                    <a:pt x="101" y="88"/>
                  </a:lnTo>
                  <a:lnTo>
                    <a:pt x="119" y="76"/>
                  </a:lnTo>
                  <a:lnTo>
                    <a:pt x="138" y="66"/>
                  </a:lnTo>
                  <a:lnTo>
                    <a:pt x="158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20" name="Rectangle 237"/>
            <p:cNvSpPr>
              <a:spLocks noChangeArrowheads="1"/>
            </p:cNvSpPr>
            <p:nvPr/>
          </p:nvSpPr>
          <p:spPr bwMode="auto">
            <a:xfrm>
              <a:off x="7535975" y="514106"/>
              <a:ext cx="18928" cy="65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21" name="Freeform 238"/>
            <p:cNvSpPr>
              <a:spLocks/>
            </p:cNvSpPr>
            <p:nvPr/>
          </p:nvSpPr>
          <p:spPr bwMode="auto">
            <a:xfrm>
              <a:off x="7208377" y="857720"/>
              <a:ext cx="58240" cy="58240"/>
            </a:xfrm>
            <a:custGeom>
              <a:avLst/>
              <a:gdLst>
                <a:gd name="T0" fmla="*/ 20 w 121"/>
                <a:gd name="T1" fmla="*/ 121 h 121"/>
                <a:gd name="T2" fmla="*/ 16 w 121"/>
                <a:gd name="T3" fmla="*/ 121 h 121"/>
                <a:gd name="T4" fmla="*/ 13 w 121"/>
                <a:gd name="T5" fmla="*/ 120 h 121"/>
                <a:gd name="T6" fmla="*/ 9 w 121"/>
                <a:gd name="T7" fmla="*/ 119 h 121"/>
                <a:gd name="T8" fmla="*/ 6 w 121"/>
                <a:gd name="T9" fmla="*/ 116 h 121"/>
                <a:gd name="T10" fmla="*/ 3 w 121"/>
                <a:gd name="T11" fmla="*/ 113 h 121"/>
                <a:gd name="T12" fmla="*/ 1 w 121"/>
                <a:gd name="T13" fmla="*/ 110 h 121"/>
                <a:gd name="T14" fmla="*/ 0 w 121"/>
                <a:gd name="T15" fmla="*/ 106 h 121"/>
                <a:gd name="T16" fmla="*/ 0 w 121"/>
                <a:gd name="T17" fmla="*/ 103 h 121"/>
                <a:gd name="T18" fmla="*/ 0 w 121"/>
                <a:gd name="T19" fmla="*/ 98 h 121"/>
                <a:gd name="T20" fmla="*/ 1 w 121"/>
                <a:gd name="T21" fmla="*/ 95 h 121"/>
                <a:gd name="T22" fmla="*/ 3 w 121"/>
                <a:gd name="T23" fmla="*/ 91 h 121"/>
                <a:gd name="T24" fmla="*/ 6 w 121"/>
                <a:gd name="T25" fmla="*/ 88 h 121"/>
                <a:gd name="T26" fmla="*/ 88 w 121"/>
                <a:gd name="T27" fmla="*/ 6 h 121"/>
                <a:gd name="T28" fmla="*/ 91 w 121"/>
                <a:gd name="T29" fmla="*/ 3 h 121"/>
                <a:gd name="T30" fmla="*/ 95 w 121"/>
                <a:gd name="T31" fmla="*/ 2 h 121"/>
                <a:gd name="T32" fmla="*/ 98 w 121"/>
                <a:gd name="T33" fmla="*/ 0 h 121"/>
                <a:gd name="T34" fmla="*/ 102 w 121"/>
                <a:gd name="T35" fmla="*/ 0 h 121"/>
                <a:gd name="T36" fmla="*/ 105 w 121"/>
                <a:gd name="T37" fmla="*/ 0 h 121"/>
                <a:gd name="T38" fmla="*/ 109 w 121"/>
                <a:gd name="T39" fmla="*/ 2 h 121"/>
                <a:gd name="T40" fmla="*/ 112 w 121"/>
                <a:gd name="T41" fmla="*/ 3 h 121"/>
                <a:gd name="T42" fmla="*/ 115 w 121"/>
                <a:gd name="T43" fmla="*/ 6 h 121"/>
                <a:gd name="T44" fmla="*/ 118 w 121"/>
                <a:gd name="T45" fmla="*/ 9 h 121"/>
                <a:gd name="T46" fmla="*/ 120 w 121"/>
                <a:gd name="T47" fmla="*/ 13 h 121"/>
                <a:gd name="T48" fmla="*/ 121 w 121"/>
                <a:gd name="T49" fmla="*/ 16 h 121"/>
                <a:gd name="T50" fmla="*/ 121 w 121"/>
                <a:gd name="T51" fmla="*/ 21 h 121"/>
                <a:gd name="T52" fmla="*/ 121 w 121"/>
                <a:gd name="T53" fmla="*/ 23 h 121"/>
                <a:gd name="T54" fmla="*/ 120 w 121"/>
                <a:gd name="T55" fmla="*/ 28 h 121"/>
                <a:gd name="T56" fmla="*/ 118 w 121"/>
                <a:gd name="T57" fmla="*/ 31 h 121"/>
                <a:gd name="T58" fmla="*/ 115 w 121"/>
                <a:gd name="T59" fmla="*/ 34 h 121"/>
                <a:gd name="T60" fmla="*/ 33 w 121"/>
                <a:gd name="T61" fmla="*/ 116 h 121"/>
                <a:gd name="T62" fmla="*/ 30 w 121"/>
                <a:gd name="T63" fmla="*/ 119 h 121"/>
                <a:gd name="T64" fmla="*/ 27 w 121"/>
                <a:gd name="T65" fmla="*/ 120 h 121"/>
                <a:gd name="T66" fmla="*/ 23 w 121"/>
                <a:gd name="T67" fmla="*/ 121 h 121"/>
                <a:gd name="T68" fmla="*/ 20 w 121"/>
                <a:gd name="T6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1" h="121">
                  <a:moveTo>
                    <a:pt x="20" y="121"/>
                  </a:moveTo>
                  <a:lnTo>
                    <a:pt x="16" y="121"/>
                  </a:lnTo>
                  <a:lnTo>
                    <a:pt x="13" y="120"/>
                  </a:lnTo>
                  <a:lnTo>
                    <a:pt x="9" y="119"/>
                  </a:lnTo>
                  <a:lnTo>
                    <a:pt x="6" y="116"/>
                  </a:lnTo>
                  <a:lnTo>
                    <a:pt x="3" y="113"/>
                  </a:lnTo>
                  <a:lnTo>
                    <a:pt x="1" y="110"/>
                  </a:lnTo>
                  <a:lnTo>
                    <a:pt x="0" y="106"/>
                  </a:lnTo>
                  <a:lnTo>
                    <a:pt x="0" y="103"/>
                  </a:lnTo>
                  <a:lnTo>
                    <a:pt x="0" y="98"/>
                  </a:lnTo>
                  <a:lnTo>
                    <a:pt x="1" y="95"/>
                  </a:lnTo>
                  <a:lnTo>
                    <a:pt x="3" y="91"/>
                  </a:lnTo>
                  <a:lnTo>
                    <a:pt x="6" y="88"/>
                  </a:lnTo>
                  <a:lnTo>
                    <a:pt x="88" y="6"/>
                  </a:lnTo>
                  <a:lnTo>
                    <a:pt x="91" y="3"/>
                  </a:lnTo>
                  <a:lnTo>
                    <a:pt x="95" y="2"/>
                  </a:lnTo>
                  <a:lnTo>
                    <a:pt x="98" y="0"/>
                  </a:lnTo>
                  <a:lnTo>
                    <a:pt x="102" y="0"/>
                  </a:lnTo>
                  <a:lnTo>
                    <a:pt x="105" y="0"/>
                  </a:lnTo>
                  <a:lnTo>
                    <a:pt x="109" y="2"/>
                  </a:lnTo>
                  <a:lnTo>
                    <a:pt x="112" y="3"/>
                  </a:lnTo>
                  <a:lnTo>
                    <a:pt x="115" y="6"/>
                  </a:lnTo>
                  <a:lnTo>
                    <a:pt x="118" y="9"/>
                  </a:lnTo>
                  <a:lnTo>
                    <a:pt x="120" y="13"/>
                  </a:lnTo>
                  <a:lnTo>
                    <a:pt x="121" y="16"/>
                  </a:lnTo>
                  <a:lnTo>
                    <a:pt x="121" y="21"/>
                  </a:lnTo>
                  <a:lnTo>
                    <a:pt x="121" y="23"/>
                  </a:lnTo>
                  <a:lnTo>
                    <a:pt x="120" y="28"/>
                  </a:lnTo>
                  <a:lnTo>
                    <a:pt x="118" y="31"/>
                  </a:lnTo>
                  <a:lnTo>
                    <a:pt x="115" y="34"/>
                  </a:lnTo>
                  <a:lnTo>
                    <a:pt x="33" y="116"/>
                  </a:lnTo>
                  <a:lnTo>
                    <a:pt x="30" y="119"/>
                  </a:lnTo>
                  <a:lnTo>
                    <a:pt x="27" y="120"/>
                  </a:lnTo>
                  <a:lnTo>
                    <a:pt x="23" y="121"/>
                  </a:lnTo>
                  <a:lnTo>
                    <a:pt x="20" y="12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22" name="Freeform 239"/>
            <p:cNvSpPr>
              <a:spLocks/>
            </p:cNvSpPr>
            <p:nvPr/>
          </p:nvSpPr>
          <p:spPr bwMode="auto">
            <a:xfrm>
              <a:off x="7486471" y="857720"/>
              <a:ext cx="59696" cy="58240"/>
            </a:xfrm>
            <a:custGeom>
              <a:avLst/>
              <a:gdLst>
                <a:gd name="T0" fmla="*/ 100 w 121"/>
                <a:gd name="T1" fmla="*/ 121 h 121"/>
                <a:gd name="T2" fmla="*/ 98 w 121"/>
                <a:gd name="T3" fmla="*/ 121 h 121"/>
                <a:gd name="T4" fmla="*/ 93 w 121"/>
                <a:gd name="T5" fmla="*/ 120 h 121"/>
                <a:gd name="T6" fmla="*/ 90 w 121"/>
                <a:gd name="T7" fmla="*/ 119 h 121"/>
                <a:gd name="T8" fmla="*/ 87 w 121"/>
                <a:gd name="T9" fmla="*/ 116 h 121"/>
                <a:gd name="T10" fmla="*/ 5 w 121"/>
                <a:gd name="T11" fmla="*/ 34 h 121"/>
                <a:gd name="T12" fmla="*/ 2 w 121"/>
                <a:gd name="T13" fmla="*/ 31 h 121"/>
                <a:gd name="T14" fmla="*/ 1 w 121"/>
                <a:gd name="T15" fmla="*/ 28 h 121"/>
                <a:gd name="T16" fmla="*/ 0 w 121"/>
                <a:gd name="T17" fmla="*/ 23 h 121"/>
                <a:gd name="T18" fmla="*/ 0 w 121"/>
                <a:gd name="T19" fmla="*/ 21 h 121"/>
                <a:gd name="T20" fmla="*/ 0 w 121"/>
                <a:gd name="T21" fmla="*/ 16 h 121"/>
                <a:gd name="T22" fmla="*/ 1 w 121"/>
                <a:gd name="T23" fmla="*/ 12 h 121"/>
                <a:gd name="T24" fmla="*/ 2 w 121"/>
                <a:gd name="T25" fmla="*/ 9 h 121"/>
                <a:gd name="T26" fmla="*/ 5 w 121"/>
                <a:gd name="T27" fmla="*/ 6 h 121"/>
                <a:gd name="T28" fmla="*/ 8 w 121"/>
                <a:gd name="T29" fmla="*/ 3 h 121"/>
                <a:gd name="T30" fmla="*/ 11 w 121"/>
                <a:gd name="T31" fmla="*/ 2 h 121"/>
                <a:gd name="T32" fmla="*/ 15 w 121"/>
                <a:gd name="T33" fmla="*/ 0 h 121"/>
                <a:gd name="T34" fmla="*/ 18 w 121"/>
                <a:gd name="T35" fmla="*/ 0 h 121"/>
                <a:gd name="T36" fmla="*/ 23 w 121"/>
                <a:gd name="T37" fmla="*/ 0 h 121"/>
                <a:gd name="T38" fmla="*/ 26 w 121"/>
                <a:gd name="T39" fmla="*/ 2 h 121"/>
                <a:gd name="T40" fmla="*/ 30 w 121"/>
                <a:gd name="T41" fmla="*/ 3 h 121"/>
                <a:gd name="T42" fmla="*/ 33 w 121"/>
                <a:gd name="T43" fmla="*/ 6 h 121"/>
                <a:gd name="T44" fmla="*/ 115 w 121"/>
                <a:gd name="T45" fmla="*/ 88 h 121"/>
                <a:gd name="T46" fmla="*/ 118 w 121"/>
                <a:gd name="T47" fmla="*/ 91 h 121"/>
                <a:gd name="T48" fmla="*/ 119 w 121"/>
                <a:gd name="T49" fmla="*/ 95 h 121"/>
                <a:gd name="T50" fmla="*/ 121 w 121"/>
                <a:gd name="T51" fmla="*/ 98 h 121"/>
                <a:gd name="T52" fmla="*/ 121 w 121"/>
                <a:gd name="T53" fmla="*/ 103 h 121"/>
                <a:gd name="T54" fmla="*/ 121 w 121"/>
                <a:gd name="T55" fmla="*/ 106 h 121"/>
                <a:gd name="T56" fmla="*/ 119 w 121"/>
                <a:gd name="T57" fmla="*/ 110 h 121"/>
                <a:gd name="T58" fmla="*/ 118 w 121"/>
                <a:gd name="T59" fmla="*/ 113 h 121"/>
                <a:gd name="T60" fmla="*/ 115 w 121"/>
                <a:gd name="T61" fmla="*/ 116 h 121"/>
                <a:gd name="T62" fmla="*/ 112 w 121"/>
                <a:gd name="T63" fmla="*/ 119 h 121"/>
                <a:gd name="T64" fmla="*/ 109 w 121"/>
                <a:gd name="T65" fmla="*/ 120 h 121"/>
                <a:gd name="T66" fmla="*/ 105 w 121"/>
                <a:gd name="T67" fmla="*/ 121 h 121"/>
                <a:gd name="T68" fmla="*/ 100 w 121"/>
                <a:gd name="T6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1" h="121">
                  <a:moveTo>
                    <a:pt x="100" y="121"/>
                  </a:moveTo>
                  <a:lnTo>
                    <a:pt x="98" y="121"/>
                  </a:lnTo>
                  <a:lnTo>
                    <a:pt x="93" y="120"/>
                  </a:lnTo>
                  <a:lnTo>
                    <a:pt x="90" y="119"/>
                  </a:lnTo>
                  <a:lnTo>
                    <a:pt x="87" y="116"/>
                  </a:lnTo>
                  <a:lnTo>
                    <a:pt x="5" y="34"/>
                  </a:lnTo>
                  <a:lnTo>
                    <a:pt x="2" y="31"/>
                  </a:lnTo>
                  <a:lnTo>
                    <a:pt x="1" y="28"/>
                  </a:lnTo>
                  <a:lnTo>
                    <a:pt x="0" y="23"/>
                  </a:lnTo>
                  <a:lnTo>
                    <a:pt x="0" y="21"/>
                  </a:lnTo>
                  <a:lnTo>
                    <a:pt x="0" y="16"/>
                  </a:lnTo>
                  <a:lnTo>
                    <a:pt x="1" y="12"/>
                  </a:lnTo>
                  <a:lnTo>
                    <a:pt x="2" y="9"/>
                  </a:lnTo>
                  <a:lnTo>
                    <a:pt x="5" y="6"/>
                  </a:lnTo>
                  <a:lnTo>
                    <a:pt x="8" y="3"/>
                  </a:lnTo>
                  <a:lnTo>
                    <a:pt x="11" y="2"/>
                  </a:lnTo>
                  <a:lnTo>
                    <a:pt x="15" y="0"/>
                  </a:lnTo>
                  <a:lnTo>
                    <a:pt x="18" y="0"/>
                  </a:lnTo>
                  <a:lnTo>
                    <a:pt x="23" y="0"/>
                  </a:lnTo>
                  <a:lnTo>
                    <a:pt x="26" y="2"/>
                  </a:lnTo>
                  <a:lnTo>
                    <a:pt x="30" y="3"/>
                  </a:lnTo>
                  <a:lnTo>
                    <a:pt x="33" y="6"/>
                  </a:lnTo>
                  <a:lnTo>
                    <a:pt x="115" y="88"/>
                  </a:lnTo>
                  <a:lnTo>
                    <a:pt x="118" y="91"/>
                  </a:lnTo>
                  <a:lnTo>
                    <a:pt x="119" y="95"/>
                  </a:lnTo>
                  <a:lnTo>
                    <a:pt x="121" y="98"/>
                  </a:lnTo>
                  <a:lnTo>
                    <a:pt x="121" y="103"/>
                  </a:lnTo>
                  <a:lnTo>
                    <a:pt x="121" y="106"/>
                  </a:lnTo>
                  <a:lnTo>
                    <a:pt x="119" y="110"/>
                  </a:lnTo>
                  <a:lnTo>
                    <a:pt x="118" y="113"/>
                  </a:lnTo>
                  <a:lnTo>
                    <a:pt x="115" y="116"/>
                  </a:lnTo>
                  <a:lnTo>
                    <a:pt x="112" y="119"/>
                  </a:lnTo>
                  <a:lnTo>
                    <a:pt x="109" y="120"/>
                  </a:lnTo>
                  <a:lnTo>
                    <a:pt x="105" y="121"/>
                  </a:lnTo>
                  <a:lnTo>
                    <a:pt x="100" y="12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D59F26C4-D45C-449B-845B-D6966B6EB65F}" type="slidenum">
              <a:rPr lang="en-US" smtClean="0"/>
              <a:pPr algn="ctr"/>
              <a:t>17</a:t>
            </a:fld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3495223" y="4507962"/>
            <a:ext cx="4953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4848"/>
              </a:buClr>
              <a:defRPr/>
            </a:pPr>
            <a:r>
              <a:rPr lang="fr-FR" sz="1400" noProof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otre mission, nos cibles et notre campagne numerique.</a:t>
            </a:r>
            <a:endParaRPr lang="en-US" sz="1400" noProof="1">
              <a:solidFill>
                <a:schemeClr val="bg1">
                  <a:lumMod val="95000"/>
                </a:schemeClr>
              </a:solidFill>
              <a:latin typeface="Titillium Lt" panose="00000400000000000000" pitchFamily="50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95763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900" decel="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>
            <p:custDataLst>
              <p:tags r:id="rId1"/>
            </p:custDataLst>
          </p:nvPr>
        </p:nvSpPr>
        <p:spPr>
          <a:xfrm>
            <a:off x="1765300" y="361450"/>
            <a:ext cx="8661400" cy="56644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spc="600" dirty="0">
                <a:solidFill>
                  <a:schemeClr val="bg1">
                    <a:lumMod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NOTRE MISS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9F26C4-D45C-449B-845B-D6966B6EB65F}" type="slidenum">
              <a:rPr lang="en-US" smtClean="0"/>
              <a:t>18</a:t>
            </a:fld>
            <a:endParaRPr lang="en-US" dirty="0"/>
          </a:p>
        </p:txBody>
      </p:sp>
      <p:grpSp>
        <p:nvGrpSpPr>
          <p:cNvPr id="36" name="Group 35"/>
          <p:cNvGrpSpPr/>
          <p:nvPr/>
        </p:nvGrpSpPr>
        <p:grpSpPr>
          <a:xfrm>
            <a:off x="5455948" y="5047202"/>
            <a:ext cx="2046881" cy="566119"/>
            <a:chOff x="2889972" y="3780969"/>
            <a:chExt cx="1860801" cy="514654"/>
          </a:xfrm>
        </p:grpSpPr>
        <p:sp>
          <p:nvSpPr>
            <p:cNvPr id="37" name="Oval 36"/>
            <p:cNvSpPr/>
            <p:nvPr/>
          </p:nvSpPr>
          <p:spPr>
            <a:xfrm>
              <a:off x="2889972" y="3780969"/>
              <a:ext cx="1860801" cy="51465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Oval 38"/>
            <p:cNvSpPr/>
            <p:nvPr/>
          </p:nvSpPr>
          <p:spPr>
            <a:xfrm>
              <a:off x="3138706" y="3887055"/>
              <a:ext cx="1363332" cy="30248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Oval 39"/>
            <p:cNvSpPr/>
            <p:nvPr/>
          </p:nvSpPr>
          <p:spPr>
            <a:xfrm>
              <a:off x="3538756" y="3975814"/>
              <a:ext cx="563232" cy="12496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1" name="Group 86"/>
          <p:cNvGrpSpPr/>
          <p:nvPr/>
        </p:nvGrpSpPr>
        <p:grpSpPr>
          <a:xfrm rot="3723659">
            <a:off x="3840819" y="2568789"/>
            <a:ext cx="3739745" cy="2043040"/>
            <a:chOff x="3990975" y="2525713"/>
            <a:chExt cx="1697038" cy="927100"/>
          </a:xfrm>
        </p:grpSpPr>
        <p:sp>
          <p:nvSpPr>
            <p:cNvPr id="43" name="Freeform 17"/>
            <p:cNvSpPr>
              <a:spLocks/>
            </p:cNvSpPr>
            <p:nvPr/>
          </p:nvSpPr>
          <p:spPr bwMode="auto">
            <a:xfrm>
              <a:off x="4016375" y="2970213"/>
              <a:ext cx="363538" cy="330200"/>
            </a:xfrm>
            <a:custGeom>
              <a:avLst/>
              <a:gdLst/>
              <a:ahLst/>
              <a:cxnLst>
                <a:cxn ang="0">
                  <a:pos x="236" y="0"/>
                </a:cxn>
                <a:cxn ang="0">
                  <a:pos x="271" y="128"/>
                </a:cxn>
                <a:cxn ang="0">
                  <a:pos x="236" y="0"/>
                </a:cxn>
              </a:cxnLst>
              <a:rect l="0" t="0" r="r" b="b"/>
              <a:pathLst>
                <a:path w="271" h="245">
                  <a:moveTo>
                    <a:pt x="236" y="0"/>
                  </a:moveTo>
                  <a:cubicBezTo>
                    <a:pt x="23" y="81"/>
                    <a:pt x="0" y="245"/>
                    <a:pt x="271" y="128"/>
                  </a:cubicBezTo>
                  <a:lnTo>
                    <a:pt x="236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18"/>
            <p:cNvSpPr>
              <a:spLocks/>
            </p:cNvSpPr>
            <p:nvPr/>
          </p:nvSpPr>
          <p:spPr bwMode="auto">
            <a:xfrm>
              <a:off x="3990975" y="2651125"/>
              <a:ext cx="404813" cy="327025"/>
            </a:xfrm>
            <a:custGeom>
              <a:avLst/>
              <a:gdLst/>
              <a:ahLst/>
              <a:cxnLst>
                <a:cxn ang="0">
                  <a:pos x="255" y="244"/>
                </a:cxn>
                <a:cxn ang="0">
                  <a:pos x="302" y="121"/>
                </a:cxn>
                <a:cxn ang="0">
                  <a:pos x="255" y="244"/>
                </a:cxn>
              </a:cxnLst>
              <a:rect l="0" t="0" r="r" b="b"/>
              <a:pathLst>
                <a:path w="302" h="244">
                  <a:moveTo>
                    <a:pt x="255" y="244"/>
                  </a:moveTo>
                  <a:cubicBezTo>
                    <a:pt x="0" y="106"/>
                    <a:pt x="50" y="0"/>
                    <a:pt x="302" y="121"/>
                  </a:cubicBezTo>
                  <a:lnTo>
                    <a:pt x="255" y="244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19"/>
            <p:cNvSpPr>
              <a:spLocks/>
            </p:cNvSpPr>
            <p:nvPr/>
          </p:nvSpPr>
          <p:spPr bwMode="auto">
            <a:xfrm>
              <a:off x="5297488" y="3011488"/>
              <a:ext cx="390525" cy="41275"/>
            </a:xfrm>
            <a:custGeom>
              <a:avLst/>
              <a:gdLst/>
              <a:ahLst/>
              <a:cxnLst>
                <a:cxn ang="0">
                  <a:pos x="73" y="2"/>
                </a:cxn>
                <a:cxn ang="0">
                  <a:pos x="0" y="8"/>
                </a:cxn>
                <a:cxn ang="0">
                  <a:pos x="72" y="21"/>
                </a:cxn>
                <a:cxn ang="0">
                  <a:pos x="291" y="27"/>
                </a:cxn>
                <a:cxn ang="0">
                  <a:pos x="292" y="24"/>
                </a:cxn>
                <a:cxn ang="0">
                  <a:pos x="73" y="2"/>
                </a:cxn>
              </a:cxnLst>
              <a:rect l="0" t="0" r="r" b="b"/>
              <a:pathLst>
                <a:path w="292" h="30">
                  <a:moveTo>
                    <a:pt x="73" y="2"/>
                  </a:moveTo>
                  <a:cubicBezTo>
                    <a:pt x="33" y="0"/>
                    <a:pt x="1" y="2"/>
                    <a:pt x="0" y="8"/>
                  </a:cubicBezTo>
                  <a:cubicBezTo>
                    <a:pt x="0" y="13"/>
                    <a:pt x="32" y="19"/>
                    <a:pt x="72" y="21"/>
                  </a:cubicBezTo>
                  <a:cubicBezTo>
                    <a:pt x="100" y="22"/>
                    <a:pt x="279" y="30"/>
                    <a:pt x="291" y="27"/>
                  </a:cubicBezTo>
                  <a:cubicBezTo>
                    <a:pt x="292" y="26"/>
                    <a:pt x="292" y="26"/>
                    <a:pt x="292" y="24"/>
                  </a:cubicBezTo>
                  <a:cubicBezTo>
                    <a:pt x="280" y="21"/>
                    <a:pt x="101" y="3"/>
                    <a:pt x="73" y="2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21"/>
            <p:cNvSpPr>
              <a:spLocks/>
            </p:cNvSpPr>
            <p:nvPr/>
          </p:nvSpPr>
          <p:spPr bwMode="auto">
            <a:xfrm>
              <a:off x="4333875" y="2951163"/>
              <a:ext cx="1028700" cy="134938"/>
            </a:xfrm>
            <a:custGeom>
              <a:avLst/>
              <a:gdLst/>
              <a:ahLst/>
              <a:cxnLst>
                <a:cxn ang="0">
                  <a:pos x="768" y="10"/>
                </a:cxn>
                <a:cxn ang="0">
                  <a:pos x="0" y="9"/>
                </a:cxn>
                <a:cxn ang="0">
                  <a:pos x="0" y="26"/>
                </a:cxn>
                <a:cxn ang="0">
                  <a:pos x="763" y="100"/>
                </a:cxn>
                <a:cxn ang="0">
                  <a:pos x="768" y="10"/>
                </a:cxn>
              </a:cxnLst>
              <a:rect l="0" t="0" r="r" b="b"/>
              <a:pathLst>
                <a:path w="768" h="100">
                  <a:moveTo>
                    <a:pt x="768" y="10"/>
                  </a:moveTo>
                  <a:cubicBezTo>
                    <a:pt x="512" y="0"/>
                    <a:pt x="257" y="0"/>
                    <a:pt x="0" y="9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254" y="60"/>
                    <a:pt x="508" y="85"/>
                    <a:pt x="763" y="100"/>
                  </a:cubicBezTo>
                  <a:lnTo>
                    <a:pt x="768" y="1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22"/>
            <p:cNvSpPr>
              <a:spLocks/>
            </p:cNvSpPr>
            <p:nvPr/>
          </p:nvSpPr>
          <p:spPr bwMode="auto">
            <a:xfrm>
              <a:off x="5111750" y="2957513"/>
              <a:ext cx="307975" cy="128588"/>
            </a:xfrm>
            <a:custGeom>
              <a:avLst/>
              <a:gdLst/>
              <a:ahLst/>
              <a:cxnLst>
                <a:cxn ang="0">
                  <a:pos x="187" y="5"/>
                </a:cxn>
                <a:cxn ang="0">
                  <a:pos x="10" y="0"/>
                </a:cxn>
                <a:cxn ang="0">
                  <a:pos x="0" y="82"/>
                </a:cxn>
                <a:cxn ang="0">
                  <a:pos x="182" y="95"/>
                </a:cxn>
                <a:cxn ang="0">
                  <a:pos x="187" y="5"/>
                </a:cxn>
              </a:cxnLst>
              <a:rect l="0" t="0" r="r" b="b"/>
              <a:pathLst>
                <a:path w="230" h="95">
                  <a:moveTo>
                    <a:pt x="187" y="5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4" y="14"/>
                    <a:pt x="40" y="66"/>
                    <a:pt x="0" y="82"/>
                  </a:cubicBezTo>
                  <a:cubicBezTo>
                    <a:pt x="182" y="95"/>
                    <a:pt x="182" y="95"/>
                    <a:pt x="182" y="95"/>
                  </a:cubicBezTo>
                  <a:cubicBezTo>
                    <a:pt x="230" y="85"/>
                    <a:pt x="228" y="17"/>
                    <a:pt x="187" y="5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23"/>
            <p:cNvSpPr>
              <a:spLocks/>
            </p:cNvSpPr>
            <p:nvPr/>
          </p:nvSpPr>
          <p:spPr bwMode="auto">
            <a:xfrm>
              <a:off x="4324350" y="2525713"/>
              <a:ext cx="420688" cy="466725"/>
            </a:xfrm>
            <a:custGeom>
              <a:avLst/>
              <a:gdLst/>
              <a:ahLst/>
              <a:cxnLst>
                <a:cxn ang="0">
                  <a:pos x="314" y="348"/>
                </a:cxn>
                <a:cxn ang="0">
                  <a:pos x="0" y="334"/>
                </a:cxn>
                <a:cxn ang="0">
                  <a:pos x="314" y="348"/>
                </a:cxn>
              </a:cxnLst>
              <a:rect l="0" t="0" r="r" b="b"/>
              <a:pathLst>
                <a:path w="314" h="348">
                  <a:moveTo>
                    <a:pt x="314" y="348"/>
                  </a:moveTo>
                  <a:cubicBezTo>
                    <a:pt x="0" y="334"/>
                    <a:pt x="0" y="334"/>
                    <a:pt x="0" y="334"/>
                  </a:cubicBezTo>
                  <a:cubicBezTo>
                    <a:pt x="78" y="44"/>
                    <a:pt x="280" y="0"/>
                    <a:pt x="314" y="348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24"/>
            <p:cNvSpPr>
              <a:spLocks/>
            </p:cNvSpPr>
            <p:nvPr/>
          </p:nvSpPr>
          <p:spPr bwMode="auto">
            <a:xfrm>
              <a:off x="4324350" y="2974975"/>
              <a:ext cx="420688" cy="477838"/>
            </a:xfrm>
            <a:custGeom>
              <a:avLst/>
              <a:gdLst/>
              <a:ahLst/>
              <a:cxnLst>
                <a:cxn ang="0">
                  <a:pos x="314" y="14"/>
                </a:cxn>
                <a:cxn ang="0">
                  <a:pos x="0" y="0"/>
                </a:cxn>
                <a:cxn ang="0">
                  <a:pos x="314" y="14"/>
                </a:cxn>
              </a:cxnLst>
              <a:rect l="0" t="0" r="r" b="b"/>
              <a:pathLst>
                <a:path w="314" h="356">
                  <a:moveTo>
                    <a:pt x="314" y="1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296"/>
                    <a:pt x="247" y="356"/>
                    <a:pt x="314" y="14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802137" y="2410415"/>
            <a:ext cx="3022024" cy="2636787"/>
            <a:chOff x="802137" y="2410415"/>
            <a:chExt cx="3022024" cy="2636787"/>
          </a:xfrm>
        </p:grpSpPr>
        <p:grpSp>
          <p:nvGrpSpPr>
            <p:cNvPr id="7" name="Group 6"/>
            <p:cNvGrpSpPr/>
            <p:nvPr/>
          </p:nvGrpSpPr>
          <p:grpSpPr>
            <a:xfrm>
              <a:off x="802137" y="2410415"/>
              <a:ext cx="3022024" cy="2636787"/>
              <a:chOff x="802137" y="2410415"/>
              <a:chExt cx="3022024" cy="2636787"/>
            </a:xfrm>
          </p:grpSpPr>
          <p:sp>
            <p:nvSpPr>
              <p:cNvPr id="51" name="Rounded Rectangle 50"/>
              <p:cNvSpPr/>
              <p:nvPr/>
            </p:nvSpPr>
            <p:spPr>
              <a:xfrm>
                <a:off x="802137" y="2588985"/>
                <a:ext cx="2851779" cy="2458217"/>
              </a:xfrm>
              <a:prstGeom prst="roundRect">
                <a:avLst>
                  <a:gd name="adj" fmla="val 0"/>
                </a:avLst>
              </a:prstGeom>
              <a:solidFill>
                <a:schemeClr val="bg1"/>
              </a:solidFill>
              <a:ln w="12700">
                <a:solidFill>
                  <a:schemeClr val="bg1">
                    <a:lumMod val="75000"/>
                  </a:schemeClr>
                </a:solidFill>
                <a:headEnd type="oval" w="med" len="med"/>
                <a:tailEnd type="oval" w="med" len="med"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3" name="TextBox 52"/>
              <p:cNvSpPr txBox="1"/>
              <p:nvPr/>
            </p:nvSpPr>
            <p:spPr>
              <a:xfrm>
                <a:off x="987089" y="2919797"/>
                <a:ext cx="2837072" cy="166199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endParaRPr lang="fr-FR" sz="1000" dirty="0"/>
              </a:p>
              <a:p>
                <a:r>
                  <a:rPr lang="fr-FR" sz="1400" dirty="0">
                    <a:solidFill>
                      <a:schemeClr val="bg1">
                        <a:lumMod val="65000"/>
                      </a:schemeClr>
                    </a:solidFill>
                    <a:latin typeface="Lato "/>
                  </a:rPr>
                  <a:t>NOTRE APPLICATION EST DESTINE AU GRAND PUBLIC </a:t>
                </a:r>
              </a:p>
              <a:p>
                <a:endParaRPr lang="fr-FR" sz="1400" dirty="0">
                  <a:solidFill>
                    <a:schemeClr val="bg1">
                      <a:lumMod val="65000"/>
                    </a:schemeClr>
                  </a:solidFill>
                  <a:latin typeface="Lato 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fr-FR" sz="1400" dirty="0">
                    <a:solidFill>
                      <a:schemeClr val="bg1">
                        <a:lumMod val="65000"/>
                      </a:schemeClr>
                    </a:solidFill>
                    <a:latin typeface="Lato "/>
                  </a:rPr>
                  <a:t>INTERNAUTE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fr-FR" sz="1400" dirty="0">
                    <a:solidFill>
                      <a:schemeClr val="bg1">
                        <a:lumMod val="65000"/>
                      </a:schemeClr>
                    </a:solidFill>
                    <a:latin typeface="Lato "/>
                  </a:rPr>
                  <a:t>CYCLISTE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fr-FR" sz="1400" dirty="0">
                    <a:solidFill>
                      <a:schemeClr val="bg1">
                        <a:lumMod val="65000"/>
                      </a:schemeClr>
                    </a:solidFill>
                    <a:latin typeface="Lato "/>
                  </a:rPr>
                  <a:t>SPORTIF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fr-FR" sz="1400" dirty="0">
                    <a:solidFill>
                      <a:schemeClr val="bg1">
                        <a:lumMod val="65000"/>
                      </a:schemeClr>
                    </a:solidFill>
                    <a:latin typeface="Lato "/>
                  </a:rPr>
                  <a:t>TOURISTES</a:t>
                </a:r>
              </a:p>
            </p:txBody>
          </p:sp>
          <p:sp>
            <p:nvSpPr>
              <p:cNvPr id="55" name="Round Same Side Corner Rectangle 54"/>
              <p:cNvSpPr/>
              <p:nvPr/>
            </p:nvSpPr>
            <p:spPr>
              <a:xfrm flipV="1">
                <a:off x="1338698" y="2410415"/>
                <a:ext cx="1778657" cy="445714"/>
              </a:xfrm>
              <a:prstGeom prst="round2Same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sz="1600" dirty="0"/>
              </a:p>
            </p:txBody>
          </p:sp>
        </p:grpSp>
        <p:sp>
          <p:nvSpPr>
            <p:cNvPr id="58" name="Text Placeholder 3"/>
            <p:cNvSpPr txBox="1">
              <a:spLocks/>
            </p:cNvSpPr>
            <p:nvPr/>
          </p:nvSpPr>
          <p:spPr>
            <a:xfrm>
              <a:off x="1667777" y="2532739"/>
              <a:ext cx="1120500" cy="215444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en-US" b="1" i="0" u="none" strike="noStrike" kern="1200" cap="none" spc="60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Lato "/>
                </a:rPr>
                <a:t>CIBLES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2228027" y="2083009"/>
            <a:ext cx="2541949" cy="352547"/>
            <a:chOff x="2228027" y="2083009"/>
            <a:chExt cx="2541949" cy="352547"/>
          </a:xfrm>
        </p:grpSpPr>
        <p:sp>
          <p:nvSpPr>
            <p:cNvPr id="82" name="Rectangle 81"/>
            <p:cNvSpPr/>
            <p:nvPr/>
          </p:nvSpPr>
          <p:spPr>
            <a:xfrm>
              <a:off x="4417430" y="2083010"/>
              <a:ext cx="352546" cy="35254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bg1">
                      <a:lumMod val="50000"/>
                    </a:schemeClr>
                  </a:solidFill>
                  <a:latin typeface="Titillium" panose="00000500000000000000" pitchFamily="50" charset="0"/>
                </a:rPr>
                <a:t>1</a:t>
              </a:r>
            </a:p>
          </p:txBody>
        </p:sp>
        <p:cxnSp>
          <p:nvCxnSpPr>
            <p:cNvPr id="11" name="Elbow Connector 10"/>
            <p:cNvCxnSpPr>
              <a:stCxn id="82" idx="0"/>
              <a:endCxn id="55" idx="1"/>
            </p:cNvCxnSpPr>
            <p:nvPr/>
          </p:nvCxnSpPr>
          <p:spPr>
            <a:xfrm rot="16200000" flipH="1" flipV="1">
              <a:off x="3247162" y="1063874"/>
              <a:ext cx="327405" cy="2365676"/>
            </a:xfrm>
            <a:prstGeom prst="bentConnector3">
              <a:avLst>
                <a:gd name="adj1" fmla="val -69822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/>
          <p:cNvGrpSpPr/>
          <p:nvPr/>
        </p:nvGrpSpPr>
        <p:grpSpPr>
          <a:xfrm>
            <a:off x="8350696" y="2410415"/>
            <a:ext cx="2851779" cy="2636787"/>
            <a:chOff x="8350696" y="2410415"/>
            <a:chExt cx="2851779" cy="2636787"/>
          </a:xfrm>
        </p:grpSpPr>
        <p:sp>
          <p:nvSpPr>
            <p:cNvPr id="116" name="Rounded Rectangle 115"/>
            <p:cNvSpPr/>
            <p:nvPr/>
          </p:nvSpPr>
          <p:spPr>
            <a:xfrm>
              <a:off x="8350696" y="2588985"/>
              <a:ext cx="2851779" cy="2458217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17" name="TextBox 116"/>
            <p:cNvSpPr txBox="1"/>
            <p:nvPr/>
          </p:nvSpPr>
          <p:spPr>
            <a:xfrm>
              <a:off x="8567888" y="3273312"/>
              <a:ext cx="2481874" cy="1015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en-US" sz="4400" b="1" dirty="0">
                  <a:solidFill>
                    <a:schemeClr val="bg1">
                      <a:lumMod val="50000"/>
                    </a:schemeClr>
                  </a:solidFill>
                  <a:latin typeface="Lato "/>
                </a:rPr>
                <a:t>60 000dt </a:t>
              </a:r>
            </a:p>
          </p:txBody>
        </p:sp>
        <p:sp>
          <p:nvSpPr>
            <p:cNvPr id="118" name="Round Same Side Corner Rectangle 117"/>
            <p:cNvSpPr/>
            <p:nvPr/>
          </p:nvSpPr>
          <p:spPr>
            <a:xfrm flipV="1">
              <a:off x="8887257" y="2410415"/>
              <a:ext cx="1778657" cy="445714"/>
            </a:xfrm>
            <a:prstGeom prst="round2Same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 dirty="0"/>
            </a:p>
          </p:txBody>
        </p:sp>
        <p:sp>
          <p:nvSpPr>
            <p:cNvPr id="119" name="Text Placeholder 3"/>
            <p:cNvSpPr txBox="1">
              <a:spLocks/>
            </p:cNvSpPr>
            <p:nvPr/>
          </p:nvSpPr>
          <p:spPr>
            <a:xfrm>
              <a:off x="9412704" y="2532739"/>
              <a:ext cx="727763" cy="215444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>
                <a:spcBef>
                  <a:spcPct val="20000"/>
                </a:spcBef>
                <a:defRPr/>
              </a:pPr>
              <a:r>
                <a:rPr lang="en-US" b="1" spc="600" dirty="0">
                  <a:solidFill>
                    <a:schemeClr val="bg1"/>
                  </a:solidFill>
                  <a:latin typeface="Lato "/>
                </a:rPr>
                <a:t>PRIX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6195318" y="2410415"/>
            <a:ext cx="3581268" cy="2054833"/>
            <a:chOff x="6195318" y="2410415"/>
            <a:chExt cx="3581268" cy="2054833"/>
          </a:xfrm>
        </p:grpSpPr>
        <p:sp>
          <p:nvSpPr>
            <p:cNvPr id="115" name="Rectangle 114"/>
            <p:cNvSpPr/>
            <p:nvPr/>
          </p:nvSpPr>
          <p:spPr>
            <a:xfrm>
              <a:off x="6195318" y="4112702"/>
              <a:ext cx="352546" cy="35254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bg1">
                      <a:lumMod val="50000"/>
                    </a:schemeClr>
                  </a:solidFill>
                  <a:latin typeface="Titillium" panose="00000500000000000000" pitchFamily="50" charset="0"/>
                </a:rPr>
                <a:t>2</a:t>
              </a:r>
            </a:p>
          </p:txBody>
        </p:sp>
        <p:cxnSp>
          <p:nvCxnSpPr>
            <p:cNvPr id="15" name="Elbow Connector 14"/>
            <p:cNvCxnSpPr>
              <a:stCxn id="115" idx="3"/>
              <a:endCxn id="118" idx="1"/>
            </p:cNvCxnSpPr>
            <p:nvPr/>
          </p:nvCxnSpPr>
          <p:spPr>
            <a:xfrm flipV="1">
              <a:off x="6547864" y="2410415"/>
              <a:ext cx="3228722" cy="1878560"/>
            </a:xfrm>
            <a:prstGeom prst="bentConnector4">
              <a:avLst>
                <a:gd name="adj1" fmla="val 36228"/>
                <a:gd name="adj2" fmla="val 112169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Rectangle 33"/>
          <p:cNvSpPr/>
          <p:nvPr/>
        </p:nvSpPr>
        <p:spPr>
          <a:xfrm>
            <a:off x="256853" y="6565187"/>
            <a:ext cx="750014" cy="268210"/>
          </a:xfrm>
          <a:prstGeom prst="rect">
            <a:avLst/>
          </a:prstGeom>
          <a:solidFill>
            <a:srgbClr val="ED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5" name="Rectangle 34"/>
          <p:cNvSpPr/>
          <p:nvPr/>
        </p:nvSpPr>
        <p:spPr>
          <a:xfrm>
            <a:off x="9317646" y="6565187"/>
            <a:ext cx="1945439" cy="268210"/>
          </a:xfrm>
          <a:prstGeom prst="rect">
            <a:avLst/>
          </a:prstGeom>
          <a:solidFill>
            <a:srgbClr val="ED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89788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2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750"/>
                            </p:stCondLst>
                            <p:childTnLst>
                              <p:par>
                                <p:cTn id="19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25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MacBook"/>
          <p:cNvGrpSpPr/>
          <p:nvPr/>
        </p:nvGrpSpPr>
        <p:grpSpPr>
          <a:xfrm>
            <a:off x="1731310" y="1219028"/>
            <a:ext cx="8695390" cy="5111718"/>
            <a:chOff x="8440747" y="4796156"/>
            <a:chExt cx="2786063" cy="1603375"/>
          </a:xfrm>
        </p:grpSpPr>
        <p:sp>
          <p:nvSpPr>
            <p:cNvPr id="45" name="Freeform 45"/>
            <p:cNvSpPr>
              <a:spLocks/>
            </p:cNvSpPr>
            <p:nvPr/>
          </p:nvSpPr>
          <p:spPr bwMode="auto">
            <a:xfrm>
              <a:off x="8440747" y="6337618"/>
              <a:ext cx="1403350" cy="61913"/>
            </a:xfrm>
            <a:custGeom>
              <a:avLst/>
              <a:gdLst>
                <a:gd name="T0" fmla="*/ 0 w 885"/>
                <a:gd name="T1" fmla="*/ 16 h 39"/>
                <a:gd name="T2" fmla="*/ 78 w 885"/>
                <a:gd name="T3" fmla="*/ 39 h 39"/>
                <a:gd name="T4" fmla="*/ 885 w 885"/>
                <a:gd name="T5" fmla="*/ 39 h 39"/>
                <a:gd name="T6" fmla="*/ 885 w 885"/>
                <a:gd name="T7" fmla="*/ 0 h 39"/>
                <a:gd name="T8" fmla="*/ 0 w 885"/>
                <a:gd name="T9" fmla="*/ 0 h 39"/>
                <a:gd name="T10" fmla="*/ 0 w 885"/>
                <a:gd name="T11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5" h="39">
                  <a:moveTo>
                    <a:pt x="0" y="16"/>
                  </a:moveTo>
                  <a:cubicBezTo>
                    <a:pt x="0" y="23"/>
                    <a:pt x="30" y="39"/>
                    <a:pt x="78" y="39"/>
                  </a:cubicBezTo>
                  <a:cubicBezTo>
                    <a:pt x="126" y="39"/>
                    <a:pt x="885" y="39"/>
                    <a:pt x="885" y="39"/>
                  </a:cubicBezTo>
                  <a:cubicBezTo>
                    <a:pt x="885" y="0"/>
                    <a:pt x="885" y="0"/>
                    <a:pt x="885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6"/>
                  </a:lnTo>
                  <a:close/>
                </a:path>
              </a:pathLst>
            </a:custGeom>
            <a:solidFill>
              <a:srgbClr val="B3B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Freeform 46"/>
            <p:cNvSpPr>
              <a:spLocks/>
            </p:cNvSpPr>
            <p:nvPr/>
          </p:nvSpPr>
          <p:spPr bwMode="auto">
            <a:xfrm>
              <a:off x="9823459" y="6337618"/>
              <a:ext cx="1403350" cy="61913"/>
            </a:xfrm>
            <a:custGeom>
              <a:avLst/>
              <a:gdLst>
                <a:gd name="T0" fmla="*/ 884 w 884"/>
                <a:gd name="T1" fmla="*/ 16 h 39"/>
                <a:gd name="T2" fmla="*/ 806 w 884"/>
                <a:gd name="T3" fmla="*/ 39 h 39"/>
                <a:gd name="T4" fmla="*/ 0 w 884"/>
                <a:gd name="T5" fmla="*/ 39 h 39"/>
                <a:gd name="T6" fmla="*/ 0 w 884"/>
                <a:gd name="T7" fmla="*/ 0 h 39"/>
                <a:gd name="T8" fmla="*/ 884 w 884"/>
                <a:gd name="T9" fmla="*/ 0 h 39"/>
                <a:gd name="T10" fmla="*/ 884 w 884"/>
                <a:gd name="T11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4" h="39">
                  <a:moveTo>
                    <a:pt x="884" y="16"/>
                  </a:moveTo>
                  <a:cubicBezTo>
                    <a:pt x="884" y="23"/>
                    <a:pt x="854" y="39"/>
                    <a:pt x="806" y="39"/>
                  </a:cubicBezTo>
                  <a:cubicBezTo>
                    <a:pt x="758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84" y="0"/>
                    <a:pt x="884" y="0"/>
                    <a:pt x="884" y="0"/>
                  </a:cubicBezTo>
                  <a:lnTo>
                    <a:pt x="884" y="16"/>
                  </a:lnTo>
                  <a:close/>
                </a:path>
              </a:pathLst>
            </a:custGeom>
            <a:solidFill>
              <a:srgbClr val="B3B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Freeform 47"/>
            <p:cNvSpPr>
              <a:spLocks/>
            </p:cNvSpPr>
            <p:nvPr/>
          </p:nvSpPr>
          <p:spPr bwMode="auto">
            <a:xfrm>
              <a:off x="8715384" y="4796156"/>
              <a:ext cx="2257425" cy="1546225"/>
            </a:xfrm>
            <a:custGeom>
              <a:avLst/>
              <a:gdLst>
                <a:gd name="T0" fmla="*/ 1378 w 1423"/>
                <a:gd name="T1" fmla="*/ 0 h 974"/>
                <a:gd name="T2" fmla="*/ 45 w 1423"/>
                <a:gd name="T3" fmla="*/ 0 h 974"/>
                <a:gd name="T4" fmla="*/ 0 w 1423"/>
                <a:gd name="T5" fmla="*/ 45 h 974"/>
                <a:gd name="T6" fmla="*/ 0 w 1423"/>
                <a:gd name="T7" fmla="*/ 218 h 974"/>
                <a:gd name="T8" fmla="*/ 0 w 1423"/>
                <a:gd name="T9" fmla="*/ 929 h 974"/>
                <a:gd name="T10" fmla="*/ 45 w 1423"/>
                <a:gd name="T11" fmla="*/ 974 h 974"/>
                <a:gd name="T12" fmla="*/ 1378 w 1423"/>
                <a:gd name="T13" fmla="*/ 974 h 974"/>
                <a:gd name="T14" fmla="*/ 1423 w 1423"/>
                <a:gd name="T15" fmla="*/ 929 h 974"/>
                <a:gd name="T16" fmla="*/ 1423 w 1423"/>
                <a:gd name="T17" fmla="*/ 45 h 974"/>
                <a:gd name="T18" fmla="*/ 1378 w 1423"/>
                <a:gd name="T19" fmla="*/ 0 h 9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3" h="974">
                  <a:moveTo>
                    <a:pt x="1378" y="0"/>
                  </a:move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929"/>
                    <a:pt x="0" y="929"/>
                    <a:pt x="0" y="929"/>
                  </a:cubicBezTo>
                  <a:cubicBezTo>
                    <a:pt x="0" y="954"/>
                    <a:pt x="20" y="974"/>
                    <a:pt x="45" y="974"/>
                  </a:cubicBezTo>
                  <a:cubicBezTo>
                    <a:pt x="1378" y="974"/>
                    <a:pt x="1378" y="974"/>
                    <a:pt x="1378" y="974"/>
                  </a:cubicBezTo>
                  <a:cubicBezTo>
                    <a:pt x="1403" y="974"/>
                    <a:pt x="1423" y="954"/>
                    <a:pt x="1423" y="929"/>
                  </a:cubicBezTo>
                  <a:cubicBezTo>
                    <a:pt x="1423" y="45"/>
                    <a:pt x="1423" y="45"/>
                    <a:pt x="1423" y="45"/>
                  </a:cubicBezTo>
                  <a:cubicBezTo>
                    <a:pt x="1423" y="20"/>
                    <a:pt x="1403" y="0"/>
                    <a:pt x="1378" y="0"/>
                  </a:cubicBezTo>
                  <a:close/>
                </a:path>
              </a:pathLst>
            </a:custGeom>
            <a:solidFill>
              <a:srgbClr val="D2D3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48"/>
            <p:cNvSpPr>
              <a:spLocks/>
            </p:cNvSpPr>
            <p:nvPr/>
          </p:nvSpPr>
          <p:spPr bwMode="auto">
            <a:xfrm>
              <a:off x="8723322" y="4804093"/>
              <a:ext cx="2243138" cy="1530350"/>
            </a:xfrm>
            <a:custGeom>
              <a:avLst/>
              <a:gdLst>
                <a:gd name="T0" fmla="*/ 40 w 1414"/>
                <a:gd name="T1" fmla="*/ 964 h 964"/>
                <a:gd name="T2" fmla="*/ 0 w 1414"/>
                <a:gd name="T3" fmla="*/ 924 h 964"/>
                <a:gd name="T4" fmla="*/ 0 w 1414"/>
                <a:gd name="T5" fmla="*/ 40 h 964"/>
                <a:gd name="T6" fmla="*/ 40 w 1414"/>
                <a:gd name="T7" fmla="*/ 0 h 964"/>
                <a:gd name="T8" fmla="*/ 1373 w 1414"/>
                <a:gd name="T9" fmla="*/ 0 h 964"/>
                <a:gd name="T10" fmla="*/ 1414 w 1414"/>
                <a:gd name="T11" fmla="*/ 40 h 964"/>
                <a:gd name="T12" fmla="*/ 1414 w 1414"/>
                <a:gd name="T13" fmla="*/ 924 h 964"/>
                <a:gd name="T14" fmla="*/ 1373 w 1414"/>
                <a:gd name="T15" fmla="*/ 964 h 964"/>
                <a:gd name="T16" fmla="*/ 40 w 1414"/>
                <a:gd name="T17" fmla="*/ 964 h 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14" h="964">
                  <a:moveTo>
                    <a:pt x="40" y="964"/>
                  </a:moveTo>
                  <a:cubicBezTo>
                    <a:pt x="18" y="964"/>
                    <a:pt x="0" y="946"/>
                    <a:pt x="0" y="924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1373" y="0"/>
                    <a:pt x="1373" y="0"/>
                    <a:pt x="1373" y="0"/>
                  </a:cubicBezTo>
                  <a:cubicBezTo>
                    <a:pt x="1396" y="0"/>
                    <a:pt x="1414" y="18"/>
                    <a:pt x="1414" y="40"/>
                  </a:cubicBezTo>
                  <a:cubicBezTo>
                    <a:pt x="1414" y="924"/>
                    <a:pt x="1414" y="924"/>
                    <a:pt x="1414" y="924"/>
                  </a:cubicBezTo>
                  <a:cubicBezTo>
                    <a:pt x="1414" y="946"/>
                    <a:pt x="1396" y="964"/>
                    <a:pt x="1373" y="964"/>
                  </a:cubicBezTo>
                  <a:lnTo>
                    <a:pt x="40" y="964"/>
                  </a:lnTo>
                  <a:close/>
                </a:path>
              </a:pathLst>
            </a:custGeom>
            <a:solidFill>
              <a:srgbClr val="1818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Freeform 49"/>
            <p:cNvSpPr>
              <a:spLocks/>
            </p:cNvSpPr>
            <p:nvPr/>
          </p:nvSpPr>
          <p:spPr bwMode="auto">
            <a:xfrm>
              <a:off x="8723322" y="6269356"/>
              <a:ext cx="2243138" cy="65088"/>
            </a:xfrm>
            <a:custGeom>
              <a:avLst/>
              <a:gdLst>
                <a:gd name="T0" fmla="*/ 1414 w 1414"/>
                <a:gd name="T1" fmla="*/ 0 h 41"/>
                <a:gd name="T2" fmla="*/ 1396 w 1414"/>
                <a:gd name="T3" fmla="*/ 9 h 41"/>
                <a:gd name="T4" fmla="*/ 18 w 1414"/>
                <a:gd name="T5" fmla="*/ 9 h 41"/>
                <a:gd name="T6" fmla="*/ 0 w 1414"/>
                <a:gd name="T7" fmla="*/ 0 h 41"/>
                <a:gd name="T8" fmla="*/ 0 w 1414"/>
                <a:gd name="T9" fmla="*/ 1 h 41"/>
                <a:gd name="T10" fmla="*/ 40 w 1414"/>
                <a:gd name="T11" fmla="*/ 41 h 41"/>
                <a:gd name="T12" fmla="*/ 1373 w 1414"/>
                <a:gd name="T13" fmla="*/ 41 h 41"/>
                <a:gd name="T14" fmla="*/ 1414 w 1414"/>
                <a:gd name="T15" fmla="*/ 1 h 41"/>
                <a:gd name="T16" fmla="*/ 1414 w 1414"/>
                <a:gd name="T1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14" h="41">
                  <a:moveTo>
                    <a:pt x="1414" y="0"/>
                  </a:moveTo>
                  <a:cubicBezTo>
                    <a:pt x="1409" y="6"/>
                    <a:pt x="1403" y="9"/>
                    <a:pt x="1396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0" y="9"/>
                    <a:pt x="4" y="6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3"/>
                    <a:pt x="18" y="41"/>
                    <a:pt x="40" y="41"/>
                  </a:cubicBezTo>
                  <a:cubicBezTo>
                    <a:pt x="1373" y="41"/>
                    <a:pt x="1373" y="41"/>
                    <a:pt x="1373" y="41"/>
                  </a:cubicBezTo>
                  <a:cubicBezTo>
                    <a:pt x="1396" y="41"/>
                    <a:pt x="1414" y="23"/>
                    <a:pt x="1414" y="1"/>
                  </a:cubicBezTo>
                  <a:lnTo>
                    <a:pt x="1414" y="0"/>
                  </a:lnTo>
                  <a:close/>
                </a:path>
              </a:pathLst>
            </a:custGeom>
            <a:solidFill>
              <a:srgbClr val="0C0D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Rectangle 50"/>
            <p:cNvSpPr>
              <a:spLocks noChangeArrowheads="1"/>
            </p:cNvSpPr>
            <p:nvPr/>
          </p:nvSpPr>
          <p:spPr bwMode="auto">
            <a:xfrm>
              <a:off x="8440747" y="6312218"/>
              <a:ext cx="2786063" cy="50800"/>
            </a:xfrm>
            <a:prstGeom prst="rect">
              <a:avLst/>
            </a:prstGeom>
            <a:solidFill>
              <a:srgbClr val="D2D6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Freeform 51"/>
            <p:cNvSpPr>
              <a:spLocks/>
            </p:cNvSpPr>
            <p:nvPr/>
          </p:nvSpPr>
          <p:spPr bwMode="auto">
            <a:xfrm>
              <a:off x="9632959" y="6312218"/>
              <a:ext cx="400050" cy="28575"/>
            </a:xfrm>
            <a:custGeom>
              <a:avLst/>
              <a:gdLst>
                <a:gd name="T0" fmla="*/ 0 w 252"/>
                <a:gd name="T1" fmla="*/ 0 h 18"/>
                <a:gd name="T2" fmla="*/ 22 w 252"/>
                <a:gd name="T3" fmla="*/ 18 h 18"/>
                <a:gd name="T4" fmla="*/ 230 w 252"/>
                <a:gd name="T5" fmla="*/ 18 h 18"/>
                <a:gd name="T6" fmla="*/ 252 w 252"/>
                <a:gd name="T7" fmla="*/ 0 h 18"/>
                <a:gd name="T8" fmla="*/ 0 w 252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2" h="18">
                  <a:moveTo>
                    <a:pt x="0" y="0"/>
                  </a:moveTo>
                  <a:cubicBezTo>
                    <a:pt x="2" y="10"/>
                    <a:pt x="11" y="18"/>
                    <a:pt x="22" y="18"/>
                  </a:cubicBezTo>
                  <a:cubicBezTo>
                    <a:pt x="230" y="18"/>
                    <a:pt x="230" y="18"/>
                    <a:pt x="230" y="18"/>
                  </a:cubicBezTo>
                  <a:cubicBezTo>
                    <a:pt x="241" y="18"/>
                    <a:pt x="250" y="10"/>
                    <a:pt x="25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3B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Rectangle 52"/>
            <p:cNvSpPr>
              <a:spLocks noChangeArrowheads="1"/>
            </p:cNvSpPr>
            <p:nvPr/>
          </p:nvSpPr>
          <p:spPr bwMode="auto">
            <a:xfrm>
              <a:off x="8797934" y="4900931"/>
              <a:ext cx="2093913" cy="1322388"/>
            </a:xfrm>
            <a:prstGeom prst="rect">
              <a:avLst/>
            </a:prstGeom>
            <a:solidFill>
              <a:srgbClr val="0C0D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Rectangle 53"/>
            <p:cNvSpPr>
              <a:spLocks noChangeArrowheads="1"/>
            </p:cNvSpPr>
            <p:nvPr/>
          </p:nvSpPr>
          <p:spPr bwMode="auto">
            <a:xfrm>
              <a:off x="8804284" y="4908868"/>
              <a:ext cx="2079625" cy="13081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3" name="Oval 54"/>
            <p:cNvSpPr>
              <a:spLocks noChangeArrowheads="1"/>
            </p:cNvSpPr>
            <p:nvPr/>
          </p:nvSpPr>
          <p:spPr bwMode="auto">
            <a:xfrm>
              <a:off x="9831397" y="4845368"/>
              <a:ext cx="23813" cy="23813"/>
            </a:xfrm>
            <a:prstGeom prst="ellipse">
              <a:avLst/>
            </a:prstGeom>
            <a:solidFill>
              <a:srgbClr val="2C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4" name="Oval 55"/>
            <p:cNvSpPr>
              <a:spLocks noChangeArrowheads="1"/>
            </p:cNvSpPr>
            <p:nvPr/>
          </p:nvSpPr>
          <p:spPr bwMode="auto">
            <a:xfrm>
              <a:off x="9831397" y="4843781"/>
              <a:ext cx="23813" cy="22225"/>
            </a:xfrm>
            <a:prstGeom prst="ellipse">
              <a:avLst/>
            </a:prstGeom>
            <a:solidFill>
              <a:srgbClr val="0A0A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5" name="Oval 56"/>
            <p:cNvSpPr>
              <a:spLocks noChangeArrowheads="1"/>
            </p:cNvSpPr>
            <p:nvPr/>
          </p:nvSpPr>
          <p:spPr bwMode="auto">
            <a:xfrm>
              <a:off x="9836159" y="4846956"/>
              <a:ext cx="14288" cy="15875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" name="Oval 57"/>
            <p:cNvSpPr>
              <a:spLocks noChangeArrowheads="1"/>
            </p:cNvSpPr>
            <p:nvPr/>
          </p:nvSpPr>
          <p:spPr bwMode="auto">
            <a:xfrm>
              <a:off x="9839334" y="4851718"/>
              <a:ext cx="7938" cy="7938"/>
            </a:xfrm>
            <a:prstGeom prst="ellipse">
              <a:avLst/>
            </a:prstGeom>
            <a:solidFill>
              <a:srgbClr val="2C99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7" name="Freeform 58"/>
            <p:cNvSpPr>
              <a:spLocks/>
            </p:cNvSpPr>
            <p:nvPr/>
          </p:nvSpPr>
          <p:spPr bwMode="auto">
            <a:xfrm>
              <a:off x="9842509" y="4853306"/>
              <a:ext cx="1588" cy="3175"/>
            </a:xfrm>
            <a:custGeom>
              <a:avLst/>
              <a:gdLst>
                <a:gd name="T0" fmla="*/ 1 w 1"/>
                <a:gd name="T1" fmla="*/ 1 h 2"/>
                <a:gd name="T2" fmla="*/ 1 w 1"/>
                <a:gd name="T3" fmla="*/ 2 h 2"/>
                <a:gd name="T4" fmla="*/ 0 w 1"/>
                <a:gd name="T5" fmla="*/ 1 h 2"/>
                <a:gd name="T6" fmla="*/ 1 w 1"/>
                <a:gd name="T7" fmla="*/ 0 h 2"/>
                <a:gd name="T8" fmla="*/ 1 w 1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1"/>
                  </a:moveTo>
                  <a:lnTo>
                    <a:pt x="1" y="2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" name="Rectangle 3"/>
          <p:cNvSpPr/>
          <p:nvPr>
            <p:custDataLst>
              <p:tags r:id="rId1"/>
            </p:custDataLst>
          </p:nvPr>
        </p:nvSpPr>
        <p:spPr>
          <a:xfrm>
            <a:off x="1765300" y="361450"/>
            <a:ext cx="8661400" cy="56644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spc="600" dirty="0">
                <a:solidFill>
                  <a:schemeClr val="bg1">
                    <a:lumMod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VIDE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9F26C4-D45C-449B-845B-D6966B6EB65F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3" name="Logo reveal light version">
            <a:hlinkClick r:id="" action="ppaction://media"/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2846102" y="1524697"/>
            <a:ext cx="6534547" cy="4244267"/>
          </a:xfrm>
          <a:prstGeom prst="rect">
            <a:avLst/>
          </a:prstGeom>
          <a:noFill/>
          <a:ln>
            <a:noFill/>
          </a:ln>
        </p:spPr>
      </p:pic>
      <p:sp>
        <p:nvSpPr>
          <p:cNvPr id="61" name="Rectangle 60"/>
          <p:cNvSpPr/>
          <p:nvPr/>
        </p:nvSpPr>
        <p:spPr>
          <a:xfrm>
            <a:off x="256853" y="6565187"/>
            <a:ext cx="750014" cy="268210"/>
          </a:xfrm>
          <a:prstGeom prst="rect">
            <a:avLst/>
          </a:prstGeom>
          <a:solidFill>
            <a:srgbClr val="ED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2" name="Rectangle 61"/>
          <p:cNvSpPr/>
          <p:nvPr/>
        </p:nvSpPr>
        <p:spPr>
          <a:xfrm>
            <a:off x="9317646" y="6565187"/>
            <a:ext cx="1945439" cy="268210"/>
          </a:xfrm>
          <a:prstGeom prst="rect">
            <a:avLst/>
          </a:prstGeom>
          <a:solidFill>
            <a:srgbClr val="ED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646629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00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 fullScrn="1"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>
            <p:custDataLst>
              <p:tags r:id="rId1"/>
            </p:custDataLst>
          </p:nvPr>
        </p:nvSpPr>
        <p:spPr>
          <a:xfrm>
            <a:off x="1765300" y="361450"/>
            <a:ext cx="8661400" cy="56644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spc="600" dirty="0">
                <a:solidFill>
                  <a:schemeClr val="tx1">
                    <a:lumMod val="95000"/>
                    <a:lumOff val="5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PLAN DE LA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9F26C4-D45C-449B-845B-D6966B6EB65F}" type="slidenum">
              <a:rPr lang="en-US" smtClean="0"/>
              <a:t>2</a:t>
            </a:fld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1143851" y="1229685"/>
            <a:ext cx="808352" cy="689955"/>
            <a:chOff x="1143851" y="2053930"/>
            <a:chExt cx="808352" cy="689955"/>
          </a:xfrm>
        </p:grpSpPr>
        <p:sp>
          <p:nvSpPr>
            <p:cNvPr id="52" name="Hexagon 51"/>
            <p:cNvSpPr/>
            <p:nvPr/>
          </p:nvSpPr>
          <p:spPr>
            <a:xfrm>
              <a:off x="1143851" y="2053930"/>
              <a:ext cx="808352" cy="689955"/>
            </a:xfrm>
            <a:prstGeom prst="hexagon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17" name="Text Placeholder 3"/>
            <p:cNvSpPr txBox="1">
              <a:spLocks/>
            </p:cNvSpPr>
            <p:nvPr/>
          </p:nvSpPr>
          <p:spPr>
            <a:xfrm>
              <a:off x="1206942" y="2170260"/>
              <a:ext cx="712536" cy="508722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>
                <a:defRPr sz="4000" b="1" spc="-500">
                  <a:gradFill flip="none" rotWithShape="1">
                    <a:gsLst>
                      <a:gs pos="27000">
                        <a:srgbClr val="4CC1BA"/>
                      </a:gs>
                      <a:gs pos="100000">
                        <a:srgbClr val="00B0F0"/>
                      </a:gs>
                    </a:gsLst>
                    <a:lin ang="8100000" scaled="1"/>
                    <a:tileRect/>
                  </a:gradFill>
                  <a:latin typeface="Arial" panose="020B0604020202020204" pitchFamily="34" charset="0"/>
                  <a:ea typeface="Roboto" panose="02000000000000000000" pitchFamily="2" charset="0"/>
                  <a:cs typeface="Open Sans Semibold" panose="020B07060308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sz="2800" spc="-150" dirty="0">
                  <a:solidFill>
                    <a:schemeClr val="accent1"/>
                  </a:solidFill>
                </a:rPr>
                <a:t>01</a:t>
              </a:r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1210062" y="2017878"/>
            <a:ext cx="1837041" cy="28321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b="1" spc="300" dirty="0">
                <a:solidFill>
                  <a:schemeClr val="accent1"/>
                </a:solidFill>
                <a:latin typeface="Lato "/>
              </a:rPr>
              <a:t>INTRODUCTION</a:t>
            </a:r>
            <a:endParaRPr lang="en-US" sz="1200" b="1" spc="300" dirty="0">
              <a:solidFill>
                <a:schemeClr val="accent1"/>
              </a:solidFill>
              <a:latin typeface="Lato 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4582626" y="1229685"/>
            <a:ext cx="808352" cy="689955"/>
            <a:chOff x="4582626" y="2053930"/>
            <a:chExt cx="808352" cy="689955"/>
          </a:xfrm>
        </p:grpSpPr>
        <p:sp>
          <p:nvSpPr>
            <p:cNvPr id="61" name="Hexagon 60"/>
            <p:cNvSpPr/>
            <p:nvPr/>
          </p:nvSpPr>
          <p:spPr>
            <a:xfrm>
              <a:off x="4582626" y="2053930"/>
              <a:ext cx="808352" cy="689955"/>
            </a:xfrm>
            <a:prstGeom prst="hexagon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23" name="Text Placeholder 3"/>
            <p:cNvSpPr txBox="1">
              <a:spLocks/>
            </p:cNvSpPr>
            <p:nvPr/>
          </p:nvSpPr>
          <p:spPr>
            <a:xfrm>
              <a:off x="4618601" y="2149586"/>
              <a:ext cx="712536" cy="508722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>
                <a:defRPr sz="4000" b="1" spc="-500">
                  <a:gradFill flip="none" rotWithShape="1">
                    <a:gsLst>
                      <a:gs pos="27000">
                        <a:srgbClr val="4CC1BA"/>
                      </a:gs>
                      <a:gs pos="100000">
                        <a:srgbClr val="00B0F0"/>
                      </a:gs>
                    </a:gsLst>
                    <a:lin ang="8100000" scaled="1"/>
                    <a:tileRect/>
                  </a:gradFill>
                  <a:latin typeface="Arial" panose="020B0604020202020204" pitchFamily="34" charset="0"/>
                  <a:ea typeface="Roboto" panose="02000000000000000000" pitchFamily="2" charset="0"/>
                  <a:cs typeface="Open Sans Semibold" panose="020B07060308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sz="2800" spc="-150" dirty="0">
                  <a:solidFill>
                    <a:schemeClr val="accent1"/>
                  </a:solidFill>
                </a:rPr>
                <a:t>02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7905959" y="1229685"/>
            <a:ext cx="808352" cy="689955"/>
            <a:chOff x="7905959" y="2053930"/>
            <a:chExt cx="808352" cy="689955"/>
          </a:xfrm>
        </p:grpSpPr>
        <p:sp>
          <p:nvSpPr>
            <p:cNvPr id="62" name="Hexagon 61"/>
            <p:cNvSpPr/>
            <p:nvPr/>
          </p:nvSpPr>
          <p:spPr>
            <a:xfrm>
              <a:off x="7905959" y="2053930"/>
              <a:ext cx="808352" cy="689955"/>
            </a:xfrm>
            <a:prstGeom prst="hexagon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28" name="Text Placeholder 3"/>
            <p:cNvSpPr txBox="1">
              <a:spLocks/>
            </p:cNvSpPr>
            <p:nvPr/>
          </p:nvSpPr>
          <p:spPr>
            <a:xfrm>
              <a:off x="7953868" y="2149586"/>
              <a:ext cx="712536" cy="508722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>
                <a:defRPr sz="4000" b="1" spc="-500">
                  <a:gradFill flip="none" rotWithShape="1">
                    <a:gsLst>
                      <a:gs pos="27000">
                        <a:srgbClr val="4CC1BA"/>
                      </a:gs>
                      <a:gs pos="100000">
                        <a:srgbClr val="00B0F0"/>
                      </a:gs>
                    </a:gsLst>
                    <a:lin ang="8100000" scaled="1"/>
                    <a:tileRect/>
                  </a:gradFill>
                  <a:latin typeface="Arial" panose="020B0604020202020204" pitchFamily="34" charset="0"/>
                  <a:ea typeface="Roboto" panose="02000000000000000000" pitchFamily="2" charset="0"/>
                  <a:cs typeface="Open Sans Semibold" panose="020B07060308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sz="2800" spc="-150" dirty="0">
                  <a:solidFill>
                    <a:schemeClr val="accent1"/>
                  </a:solidFill>
                </a:rPr>
                <a:t>03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1143851" y="2413316"/>
            <a:ext cx="808352" cy="689955"/>
            <a:chOff x="1143851" y="3971657"/>
            <a:chExt cx="808352" cy="689955"/>
          </a:xfrm>
        </p:grpSpPr>
        <p:sp>
          <p:nvSpPr>
            <p:cNvPr id="63" name="Hexagon 62"/>
            <p:cNvSpPr/>
            <p:nvPr/>
          </p:nvSpPr>
          <p:spPr>
            <a:xfrm>
              <a:off x="1143851" y="3971657"/>
              <a:ext cx="808352" cy="689955"/>
            </a:xfrm>
            <a:prstGeom prst="hexagon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34" name="Text Placeholder 3"/>
            <p:cNvSpPr txBox="1">
              <a:spLocks/>
            </p:cNvSpPr>
            <p:nvPr/>
          </p:nvSpPr>
          <p:spPr>
            <a:xfrm>
              <a:off x="1197408" y="4082131"/>
              <a:ext cx="712536" cy="508722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>
                <a:defRPr sz="4000" b="1" spc="-500">
                  <a:gradFill flip="none" rotWithShape="1">
                    <a:gsLst>
                      <a:gs pos="27000">
                        <a:srgbClr val="4CC1BA"/>
                      </a:gs>
                      <a:gs pos="100000">
                        <a:srgbClr val="00B0F0"/>
                      </a:gs>
                    </a:gsLst>
                    <a:lin ang="8100000" scaled="1"/>
                    <a:tileRect/>
                  </a:gradFill>
                  <a:latin typeface="Arial" panose="020B0604020202020204" pitchFamily="34" charset="0"/>
                  <a:ea typeface="Roboto" panose="02000000000000000000" pitchFamily="2" charset="0"/>
                  <a:cs typeface="Open Sans Semibold" panose="020B07060308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sz="2800" spc="-150" dirty="0">
                  <a:solidFill>
                    <a:schemeClr val="accent1"/>
                  </a:solidFill>
                </a:rPr>
                <a:t>06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4582626" y="2413316"/>
            <a:ext cx="808352" cy="689955"/>
            <a:chOff x="4582626" y="3971657"/>
            <a:chExt cx="808352" cy="689955"/>
          </a:xfrm>
        </p:grpSpPr>
        <p:sp>
          <p:nvSpPr>
            <p:cNvPr id="64" name="Hexagon 63"/>
            <p:cNvSpPr/>
            <p:nvPr/>
          </p:nvSpPr>
          <p:spPr>
            <a:xfrm>
              <a:off x="4582626" y="3971657"/>
              <a:ext cx="808352" cy="689955"/>
            </a:xfrm>
            <a:prstGeom prst="hexagon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38" name="Text Placeholder 3"/>
            <p:cNvSpPr txBox="1">
              <a:spLocks/>
            </p:cNvSpPr>
            <p:nvPr/>
          </p:nvSpPr>
          <p:spPr>
            <a:xfrm>
              <a:off x="4618601" y="4082131"/>
              <a:ext cx="712536" cy="508722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>
                <a:defRPr sz="4000" b="1" spc="-500">
                  <a:gradFill flip="none" rotWithShape="1">
                    <a:gsLst>
                      <a:gs pos="27000">
                        <a:srgbClr val="4CC1BA"/>
                      </a:gs>
                      <a:gs pos="100000">
                        <a:srgbClr val="00B0F0"/>
                      </a:gs>
                    </a:gsLst>
                    <a:lin ang="8100000" scaled="1"/>
                    <a:tileRect/>
                  </a:gradFill>
                  <a:latin typeface="Arial" panose="020B0604020202020204" pitchFamily="34" charset="0"/>
                  <a:ea typeface="Roboto" panose="02000000000000000000" pitchFamily="2" charset="0"/>
                  <a:cs typeface="Open Sans Semibold" panose="020B07060308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sz="2800" spc="-150" dirty="0">
                  <a:solidFill>
                    <a:schemeClr val="accent1"/>
                  </a:solidFill>
                </a:rPr>
                <a:t>05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7905959" y="2413316"/>
            <a:ext cx="808352" cy="689955"/>
            <a:chOff x="7905959" y="3971657"/>
            <a:chExt cx="808352" cy="689955"/>
          </a:xfrm>
        </p:grpSpPr>
        <p:sp>
          <p:nvSpPr>
            <p:cNvPr id="65" name="Hexagon 64"/>
            <p:cNvSpPr/>
            <p:nvPr/>
          </p:nvSpPr>
          <p:spPr>
            <a:xfrm>
              <a:off x="7905959" y="3971657"/>
              <a:ext cx="808352" cy="689955"/>
            </a:xfrm>
            <a:prstGeom prst="hexagon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42" name="Text Placeholder 3"/>
            <p:cNvSpPr txBox="1">
              <a:spLocks/>
            </p:cNvSpPr>
            <p:nvPr/>
          </p:nvSpPr>
          <p:spPr>
            <a:xfrm>
              <a:off x="7953868" y="4082131"/>
              <a:ext cx="712536" cy="508722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>
                <a:defRPr sz="4000" b="1" spc="-500">
                  <a:gradFill flip="none" rotWithShape="1">
                    <a:gsLst>
                      <a:gs pos="27000">
                        <a:srgbClr val="4CC1BA"/>
                      </a:gs>
                      <a:gs pos="100000">
                        <a:srgbClr val="00B0F0"/>
                      </a:gs>
                    </a:gsLst>
                    <a:lin ang="8100000" scaled="1"/>
                    <a:tileRect/>
                  </a:gradFill>
                  <a:latin typeface="Arial" panose="020B0604020202020204" pitchFamily="34" charset="0"/>
                  <a:ea typeface="Roboto" panose="02000000000000000000" pitchFamily="2" charset="0"/>
                  <a:cs typeface="Open Sans Semibold" panose="020B07060308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sz="2800" spc="-150" dirty="0">
                  <a:solidFill>
                    <a:schemeClr val="accent1"/>
                  </a:solidFill>
                </a:rPr>
                <a:t>04</a:t>
              </a:r>
            </a:p>
          </p:txBody>
        </p:sp>
      </p:grpSp>
      <p:sp>
        <p:nvSpPr>
          <p:cNvPr id="68" name="TextBox 67"/>
          <p:cNvSpPr txBox="1"/>
          <p:nvPr/>
        </p:nvSpPr>
        <p:spPr>
          <a:xfrm>
            <a:off x="4940952" y="2048393"/>
            <a:ext cx="2704266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US" sz="1400" b="1" spc="300" dirty="0">
                <a:solidFill>
                  <a:schemeClr val="accent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TUDE DE L’EXISTANT </a:t>
            </a:r>
            <a:endParaRPr lang="fr-FR" sz="1400" b="1" spc="300" dirty="0"/>
          </a:p>
        </p:txBody>
      </p:sp>
      <p:sp>
        <p:nvSpPr>
          <p:cNvPr id="71" name="TextBox 70"/>
          <p:cNvSpPr txBox="1"/>
          <p:nvPr/>
        </p:nvSpPr>
        <p:spPr>
          <a:xfrm>
            <a:off x="8063520" y="1997897"/>
            <a:ext cx="3076996" cy="32316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b="1" spc="300" dirty="0">
                <a:solidFill>
                  <a:schemeClr val="accent1"/>
                </a:solidFill>
                <a:latin typeface="Lato "/>
              </a:rPr>
              <a:t>CRITIQUE DE L’EXISTANT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8063520" y="3258787"/>
            <a:ext cx="2019784" cy="32316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b="1" spc="300" dirty="0">
                <a:solidFill>
                  <a:schemeClr val="accent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ROBLEMATIQUE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4940952" y="3284349"/>
            <a:ext cx="2535951" cy="32316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b="1" spc="300" dirty="0">
                <a:solidFill>
                  <a:schemeClr val="accent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OLUTION PROPOSEE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1206942" y="3284640"/>
            <a:ext cx="2939907" cy="280590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b="1" spc="300" dirty="0">
                <a:solidFill>
                  <a:schemeClr val="accent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ESOINS FONCTIONNELS</a:t>
            </a:r>
          </a:p>
        </p:txBody>
      </p:sp>
      <p:grpSp>
        <p:nvGrpSpPr>
          <p:cNvPr id="41" name="Group 1"/>
          <p:cNvGrpSpPr/>
          <p:nvPr/>
        </p:nvGrpSpPr>
        <p:grpSpPr>
          <a:xfrm>
            <a:off x="1179826" y="3716850"/>
            <a:ext cx="808352" cy="689955"/>
            <a:chOff x="1143851" y="2053930"/>
            <a:chExt cx="808352" cy="689955"/>
          </a:xfrm>
        </p:grpSpPr>
        <p:sp>
          <p:nvSpPr>
            <p:cNvPr id="43" name="Hexagon 51"/>
            <p:cNvSpPr/>
            <p:nvPr/>
          </p:nvSpPr>
          <p:spPr>
            <a:xfrm>
              <a:off x="1143851" y="2053930"/>
              <a:ext cx="808352" cy="689955"/>
            </a:xfrm>
            <a:prstGeom prst="hexagon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44" name="Text Placeholder 3"/>
            <p:cNvSpPr txBox="1">
              <a:spLocks/>
            </p:cNvSpPr>
            <p:nvPr/>
          </p:nvSpPr>
          <p:spPr>
            <a:xfrm>
              <a:off x="1206942" y="2170260"/>
              <a:ext cx="712536" cy="508722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>
                <a:defRPr sz="4000" b="1" spc="-500">
                  <a:gradFill flip="none" rotWithShape="1">
                    <a:gsLst>
                      <a:gs pos="27000">
                        <a:srgbClr val="4CC1BA"/>
                      </a:gs>
                      <a:gs pos="100000">
                        <a:srgbClr val="00B0F0"/>
                      </a:gs>
                    </a:gsLst>
                    <a:lin ang="8100000" scaled="1"/>
                    <a:tileRect/>
                  </a:gradFill>
                  <a:latin typeface="Arial" panose="020B0604020202020204" pitchFamily="34" charset="0"/>
                  <a:ea typeface="Roboto" panose="02000000000000000000" pitchFamily="2" charset="0"/>
                  <a:cs typeface="Open Sans Semibold" panose="020B07060308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sz="2800" spc="-150" dirty="0">
                  <a:solidFill>
                    <a:schemeClr val="accent1"/>
                  </a:solidFill>
                </a:rPr>
                <a:t>07</a:t>
              </a:r>
            </a:p>
          </p:txBody>
        </p:sp>
      </p:grpSp>
      <p:sp>
        <p:nvSpPr>
          <p:cNvPr id="45" name="TextBox 21"/>
          <p:cNvSpPr txBox="1"/>
          <p:nvPr/>
        </p:nvSpPr>
        <p:spPr>
          <a:xfrm>
            <a:off x="4940952" y="4570638"/>
            <a:ext cx="1473160" cy="280590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b="1" spc="300" dirty="0">
                <a:solidFill>
                  <a:schemeClr val="accent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AGRAMME</a:t>
            </a:r>
          </a:p>
        </p:txBody>
      </p:sp>
      <p:grpSp>
        <p:nvGrpSpPr>
          <p:cNvPr id="46" name="Group 6"/>
          <p:cNvGrpSpPr/>
          <p:nvPr/>
        </p:nvGrpSpPr>
        <p:grpSpPr>
          <a:xfrm>
            <a:off x="4618601" y="3716850"/>
            <a:ext cx="808352" cy="689955"/>
            <a:chOff x="4582626" y="2053930"/>
            <a:chExt cx="808352" cy="689955"/>
          </a:xfrm>
        </p:grpSpPr>
        <p:sp>
          <p:nvSpPr>
            <p:cNvPr id="47" name="Hexagon 60"/>
            <p:cNvSpPr/>
            <p:nvPr/>
          </p:nvSpPr>
          <p:spPr>
            <a:xfrm>
              <a:off x="4582626" y="2053930"/>
              <a:ext cx="808352" cy="689955"/>
            </a:xfrm>
            <a:prstGeom prst="hexagon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48" name="Text Placeholder 3"/>
            <p:cNvSpPr txBox="1">
              <a:spLocks/>
            </p:cNvSpPr>
            <p:nvPr/>
          </p:nvSpPr>
          <p:spPr>
            <a:xfrm>
              <a:off x="4618601" y="2149586"/>
              <a:ext cx="712536" cy="508722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>
                <a:defRPr sz="4000" b="1" spc="-500">
                  <a:gradFill flip="none" rotWithShape="1">
                    <a:gsLst>
                      <a:gs pos="27000">
                        <a:srgbClr val="4CC1BA"/>
                      </a:gs>
                      <a:gs pos="100000">
                        <a:srgbClr val="00B0F0"/>
                      </a:gs>
                    </a:gsLst>
                    <a:lin ang="8100000" scaled="1"/>
                    <a:tileRect/>
                  </a:gradFill>
                  <a:latin typeface="Arial" panose="020B0604020202020204" pitchFamily="34" charset="0"/>
                  <a:ea typeface="Roboto" panose="02000000000000000000" pitchFamily="2" charset="0"/>
                  <a:cs typeface="Open Sans Semibold" panose="020B07060308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sz="2800" spc="-150" dirty="0">
                  <a:solidFill>
                    <a:schemeClr val="accent1"/>
                  </a:solidFill>
                </a:rPr>
                <a:t>08</a:t>
              </a:r>
            </a:p>
          </p:txBody>
        </p:sp>
      </p:grpSp>
      <p:grpSp>
        <p:nvGrpSpPr>
          <p:cNvPr id="49" name="Group 7"/>
          <p:cNvGrpSpPr/>
          <p:nvPr/>
        </p:nvGrpSpPr>
        <p:grpSpPr>
          <a:xfrm>
            <a:off x="7941934" y="3716850"/>
            <a:ext cx="808352" cy="689955"/>
            <a:chOff x="7905959" y="2053930"/>
            <a:chExt cx="808352" cy="689955"/>
          </a:xfrm>
        </p:grpSpPr>
        <p:sp>
          <p:nvSpPr>
            <p:cNvPr id="50" name="Hexagon 61"/>
            <p:cNvSpPr/>
            <p:nvPr/>
          </p:nvSpPr>
          <p:spPr>
            <a:xfrm>
              <a:off x="7905959" y="2053930"/>
              <a:ext cx="808352" cy="689955"/>
            </a:xfrm>
            <a:prstGeom prst="hexagon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51" name="Text Placeholder 3"/>
            <p:cNvSpPr txBox="1">
              <a:spLocks/>
            </p:cNvSpPr>
            <p:nvPr/>
          </p:nvSpPr>
          <p:spPr>
            <a:xfrm>
              <a:off x="7953868" y="2149586"/>
              <a:ext cx="712536" cy="508722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>
                <a:defRPr sz="4000" b="1" spc="-500">
                  <a:gradFill flip="none" rotWithShape="1">
                    <a:gsLst>
                      <a:gs pos="27000">
                        <a:srgbClr val="4CC1BA"/>
                      </a:gs>
                      <a:gs pos="100000">
                        <a:srgbClr val="00B0F0"/>
                      </a:gs>
                    </a:gsLst>
                    <a:lin ang="8100000" scaled="1"/>
                    <a:tileRect/>
                  </a:gradFill>
                  <a:latin typeface="Arial" panose="020B0604020202020204" pitchFamily="34" charset="0"/>
                  <a:ea typeface="Roboto" panose="02000000000000000000" pitchFamily="2" charset="0"/>
                  <a:cs typeface="Open Sans Semibold" panose="020B07060308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sz="2800" spc="-150" dirty="0">
                  <a:solidFill>
                    <a:schemeClr val="accent1"/>
                  </a:solidFill>
                </a:rPr>
                <a:t>09</a:t>
              </a:r>
            </a:p>
          </p:txBody>
        </p:sp>
      </p:grpSp>
      <p:sp>
        <p:nvSpPr>
          <p:cNvPr id="53" name="TextBox 67"/>
          <p:cNvSpPr txBox="1"/>
          <p:nvPr/>
        </p:nvSpPr>
        <p:spPr>
          <a:xfrm>
            <a:off x="8064293" y="4557895"/>
            <a:ext cx="1300036" cy="32316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b="1" spc="300" dirty="0">
                <a:solidFill>
                  <a:schemeClr val="accent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AQUETTE</a:t>
            </a:r>
          </a:p>
        </p:txBody>
      </p:sp>
      <p:sp>
        <p:nvSpPr>
          <p:cNvPr id="54" name="TextBox 70"/>
          <p:cNvSpPr txBox="1"/>
          <p:nvPr/>
        </p:nvSpPr>
        <p:spPr>
          <a:xfrm>
            <a:off x="8063520" y="5752803"/>
            <a:ext cx="2140009" cy="32316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b="1" spc="300" dirty="0">
                <a:solidFill>
                  <a:schemeClr val="accent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PI/ FRAMEWORK</a:t>
            </a:r>
          </a:p>
        </p:txBody>
      </p:sp>
      <p:grpSp>
        <p:nvGrpSpPr>
          <p:cNvPr id="55" name="Group 2"/>
          <p:cNvGrpSpPr/>
          <p:nvPr/>
        </p:nvGrpSpPr>
        <p:grpSpPr>
          <a:xfrm>
            <a:off x="1179826" y="4906465"/>
            <a:ext cx="808352" cy="689955"/>
            <a:chOff x="1143851" y="3971657"/>
            <a:chExt cx="808352" cy="689955"/>
          </a:xfrm>
        </p:grpSpPr>
        <p:sp>
          <p:nvSpPr>
            <p:cNvPr id="56" name="Hexagon 62"/>
            <p:cNvSpPr/>
            <p:nvPr/>
          </p:nvSpPr>
          <p:spPr>
            <a:xfrm>
              <a:off x="1143851" y="3971657"/>
              <a:ext cx="808352" cy="689955"/>
            </a:xfrm>
            <a:prstGeom prst="hexagon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57" name="Text Placeholder 3"/>
            <p:cNvSpPr txBox="1">
              <a:spLocks/>
            </p:cNvSpPr>
            <p:nvPr/>
          </p:nvSpPr>
          <p:spPr>
            <a:xfrm>
              <a:off x="1197408" y="4082131"/>
              <a:ext cx="712536" cy="508722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>
                <a:defRPr sz="4000" b="1" spc="-500">
                  <a:gradFill flip="none" rotWithShape="1">
                    <a:gsLst>
                      <a:gs pos="27000">
                        <a:srgbClr val="4CC1BA"/>
                      </a:gs>
                      <a:gs pos="100000">
                        <a:srgbClr val="00B0F0"/>
                      </a:gs>
                    </a:gsLst>
                    <a:lin ang="8100000" scaled="1"/>
                    <a:tileRect/>
                  </a:gradFill>
                  <a:latin typeface="Arial" panose="020B0604020202020204" pitchFamily="34" charset="0"/>
                  <a:ea typeface="Roboto" panose="02000000000000000000" pitchFamily="2" charset="0"/>
                  <a:cs typeface="Open Sans Semibold" panose="020B07060308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sz="2800" spc="-150" dirty="0">
                  <a:solidFill>
                    <a:schemeClr val="accent1"/>
                  </a:solidFill>
                </a:rPr>
                <a:t>12</a:t>
              </a:r>
            </a:p>
          </p:txBody>
        </p:sp>
      </p:grpSp>
      <p:grpSp>
        <p:nvGrpSpPr>
          <p:cNvPr id="58" name="Group 8"/>
          <p:cNvGrpSpPr/>
          <p:nvPr/>
        </p:nvGrpSpPr>
        <p:grpSpPr>
          <a:xfrm>
            <a:off x="4618601" y="4906465"/>
            <a:ext cx="808352" cy="689955"/>
            <a:chOff x="4582626" y="3971657"/>
            <a:chExt cx="808352" cy="689955"/>
          </a:xfrm>
        </p:grpSpPr>
        <p:sp>
          <p:nvSpPr>
            <p:cNvPr id="59" name="Hexagon 63"/>
            <p:cNvSpPr/>
            <p:nvPr/>
          </p:nvSpPr>
          <p:spPr>
            <a:xfrm>
              <a:off x="4582626" y="3971657"/>
              <a:ext cx="808352" cy="689955"/>
            </a:xfrm>
            <a:prstGeom prst="hexagon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60" name="Text Placeholder 3"/>
            <p:cNvSpPr txBox="1">
              <a:spLocks/>
            </p:cNvSpPr>
            <p:nvPr/>
          </p:nvSpPr>
          <p:spPr>
            <a:xfrm>
              <a:off x="4618601" y="4082131"/>
              <a:ext cx="712536" cy="508722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>
                <a:defRPr sz="4000" b="1" spc="-500">
                  <a:gradFill flip="none" rotWithShape="1">
                    <a:gsLst>
                      <a:gs pos="27000">
                        <a:srgbClr val="4CC1BA"/>
                      </a:gs>
                      <a:gs pos="100000">
                        <a:srgbClr val="00B0F0"/>
                      </a:gs>
                    </a:gsLst>
                    <a:lin ang="8100000" scaled="1"/>
                    <a:tileRect/>
                  </a:gradFill>
                  <a:latin typeface="Arial" panose="020B0604020202020204" pitchFamily="34" charset="0"/>
                  <a:ea typeface="Roboto" panose="02000000000000000000" pitchFamily="2" charset="0"/>
                  <a:cs typeface="Open Sans Semibold" panose="020B07060308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sz="2800" spc="-150" dirty="0">
                  <a:solidFill>
                    <a:schemeClr val="accent1"/>
                  </a:solidFill>
                </a:rPr>
                <a:t>11</a:t>
              </a:r>
            </a:p>
          </p:txBody>
        </p:sp>
      </p:grpSp>
      <p:grpSp>
        <p:nvGrpSpPr>
          <p:cNvPr id="81" name="Group 9"/>
          <p:cNvGrpSpPr/>
          <p:nvPr/>
        </p:nvGrpSpPr>
        <p:grpSpPr>
          <a:xfrm>
            <a:off x="7941934" y="4906465"/>
            <a:ext cx="808352" cy="689955"/>
            <a:chOff x="7905959" y="3971657"/>
            <a:chExt cx="808352" cy="689955"/>
          </a:xfrm>
        </p:grpSpPr>
        <p:sp>
          <p:nvSpPr>
            <p:cNvPr id="82" name="Hexagon 64"/>
            <p:cNvSpPr/>
            <p:nvPr/>
          </p:nvSpPr>
          <p:spPr>
            <a:xfrm>
              <a:off x="7905959" y="3971657"/>
              <a:ext cx="808352" cy="689955"/>
            </a:xfrm>
            <a:prstGeom prst="hexagon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83" name="Text Placeholder 3"/>
            <p:cNvSpPr txBox="1">
              <a:spLocks/>
            </p:cNvSpPr>
            <p:nvPr/>
          </p:nvSpPr>
          <p:spPr>
            <a:xfrm>
              <a:off x="7953868" y="4082131"/>
              <a:ext cx="712536" cy="508722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>
                <a:defRPr sz="4000" b="1" spc="-500">
                  <a:gradFill flip="none" rotWithShape="1">
                    <a:gsLst>
                      <a:gs pos="27000">
                        <a:srgbClr val="4CC1BA"/>
                      </a:gs>
                      <a:gs pos="100000">
                        <a:srgbClr val="00B0F0"/>
                      </a:gs>
                    </a:gsLst>
                    <a:lin ang="8100000" scaled="1"/>
                    <a:tileRect/>
                  </a:gradFill>
                  <a:latin typeface="Arial" panose="020B0604020202020204" pitchFamily="34" charset="0"/>
                  <a:ea typeface="Roboto" panose="02000000000000000000" pitchFamily="2" charset="0"/>
                  <a:cs typeface="Open Sans Semibold" panose="020B07060308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sz="2800" spc="-150" dirty="0">
                  <a:solidFill>
                    <a:schemeClr val="accent1"/>
                  </a:solidFill>
                </a:rPr>
                <a:t>10</a:t>
              </a:r>
            </a:p>
          </p:txBody>
        </p:sp>
      </p:grpSp>
      <p:sp>
        <p:nvSpPr>
          <p:cNvPr id="84" name="TextBox 73"/>
          <p:cNvSpPr txBox="1"/>
          <p:nvPr/>
        </p:nvSpPr>
        <p:spPr>
          <a:xfrm>
            <a:off x="1206942" y="5730019"/>
            <a:ext cx="1562928" cy="32316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b="1" spc="300" dirty="0">
                <a:solidFill>
                  <a:schemeClr val="accent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ONCLUSION</a:t>
            </a:r>
          </a:p>
        </p:txBody>
      </p:sp>
      <p:sp>
        <p:nvSpPr>
          <p:cNvPr id="85" name="TextBox 76"/>
          <p:cNvSpPr txBox="1"/>
          <p:nvPr/>
        </p:nvSpPr>
        <p:spPr>
          <a:xfrm>
            <a:off x="4989088" y="5752802"/>
            <a:ext cx="1410643" cy="32316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b="1" spc="300" dirty="0">
                <a:solidFill>
                  <a:schemeClr val="accent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ARKETING</a:t>
            </a:r>
          </a:p>
        </p:txBody>
      </p:sp>
      <p:sp>
        <p:nvSpPr>
          <p:cNvPr id="87" name="TextBox 79"/>
          <p:cNvSpPr txBox="1"/>
          <p:nvPr/>
        </p:nvSpPr>
        <p:spPr>
          <a:xfrm>
            <a:off x="1179826" y="4546388"/>
            <a:ext cx="3557064" cy="3231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b="1" spc="300" dirty="0">
                <a:solidFill>
                  <a:schemeClr val="accent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ESOINS NON FONCTIONNELS</a:t>
            </a:r>
          </a:p>
        </p:txBody>
      </p:sp>
      <p:sp>
        <p:nvSpPr>
          <p:cNvPr id="66" name="Rectangle 65"/>
          <p:cNvSpPr/>
          <p:nvPr/>
        </p:nvSpPr>
        <p:spPr>
          <a:xfrm>
            <a:off x="256853" y="6565187"/>
            <a:ext cx="750014" cy="268210"/>
          </a:xfrm>
          <a:prstGeom prst="rect">
            <a:avLst/>
          </a:prstGeom>
          <a:solidFill>
            <a:srgbClr val="ED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7" name="Rectangle 66"/>
          <p:cNvSpPr/>
          <p:nvPr/>
        </p:nvSpPr>
        <p:spPr>
          <a:xfrm>
            <a:off x="9497044" y="6516729"/>
            <a:ext cx="1766042" cy="316668"/>
          </a:xfrm>
          <a:prstGeom prst="rect">
            <a:avLst/>
          </a:prstGeom>
          <a:solidFill>
            <a:srgbClr val="ED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699888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500"/>
                            </p:stCondLst>
                            <p:childTnLst>
                              <p:par>
                                <p:cTn id="47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000"/>
                            </p:stCondLst>
                            <p:childTnLst>
                              <p:par>
                                <p:cTn id="53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4500"/>
                            </p:stCondLst>
                            <p:childTnLst>
                              <p:par>
                                <p:cTn id="59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000"/>
                            </p:stCondLst>
                            <p:childTnLst>
                              <p:par>
                                <p:cTn id="65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500"/>
                            </p:stCondLst>
                            <p:childTnLst>
                              <p:par>
                                <p:cTn id="71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>
            <p:custDataLst>
              <p:tags r:id="rId1"/>
            </p:custDataLst>
          </p:nvPr>
        </p:nvSpPr>
        <p:spPr>
          <a:xfrm>
            <a:off x="1765300" y="361450"/>
            <a:ext cx="8661400" cy="56644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spc="600" dirty="0">
                <a:solidFill>
                  <a:schemeClr val="bg1">
                    <a:lumMod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POS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9F26C4-D45C-449B-845B-D6966B6EB65F}" type="slidenum">
              <a:rPr lang="en-US" smtClean="0"/>
              <a:pPr/>
              <a:t>20</a:t>
            </a:fld>
            <a:endParaRPr lang="en-US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4352" y="1302126"/>
            <a:ext cx="6443295" cy="4555209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256853" y="6565187"/>
            <a:ext cx="750014" cy="268210"/>
          </a:xfrm>
          <a:prstGeom prst="rect">
            <a:avLst/>
          </a:prstGeom>
          <a:solidFill>
            <a:srgbClr val="ED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Rectangle 21"/>
          <p:cNvSpPr/>
          <p:nvPr/>
        </p:nvSpPr>
        <p:spPr>
          <a:xfrm>
            <a:off x="9317646" y="6565187"/>
            <a:ext cx="1945439" cy="268210"/>
          </a:xfrm>
          <a:prstGeom prst="rect">
            <a:avLst/>
          </a:prstGeom>
          <a:solidFill>
            <a:srgbClr val="ED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73538896"/>
      </p:ext>
    </p:extLst>
  </p:cSld>
  <p:clrMapOvr>
    <a:masterClrMapping/>
  </p:clrMapOvr>
  <p:transition spd="slow">
    <p:cover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>
            <p:custDataLst>
              <p:tags r:id="rId1"/>
            </p:custDataLst>
          </p:nvPr>
        </p:nvSpPr>
        <p:spPr>
          <a:xfrm>
            <a:off x="1460500" y="1510159"/>
            <a:ext cx="9271000" cy="56644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spc="600" dirty="0">
                <a:solidFill>
                  <a:schemeClr val="bg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CONCLUSION</a:t>
            </a:r>
          </a:p>
        </p:txBody>
      </p:sp>
      <p:sp>
        <p:nvSpPr>
          <p:cNvPr id="15" name="Rectangle 14"/>
          <p:cNvSpPr/>
          <p:nvPr/>
        </p:nvSpPr>
        <p:spPr>
          <a:xfrm>
            <a:off x="0" y="2269970"/>
            <a:ext cx="1205564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4848"/>
              </a:buClr>
              <a:defRPr/>
            </a:pPr>
            <a:r>
              <a:rPr lang="fr-FR" sz="12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b="1" dirty="0"/>
              <a:t>« Le fait que, grâce au web, toute la connaissance soit accessible en un clic, ça me semble quand même être une bonne chose »</a:t>
            </a:r>
            <a:br>
              <a:rPr lang="fr-FR" sz="1600" b="1" dirty="0"/>
            </a:br>
            <a:r>
              <a:rPr lang="fr-FR" sz="1600" b="1" dirty="0"/>
              <a:t> Larry Clark </a:t>
            </a:r>
            <a:endParaRPr lang="en-US" sz="1200" noProof="1">
              <a:solidFill>
                <a:schemeClr val="bg1">
                  <a:lumMod val="95000"/>
                </a:schemeClr>
              </a:solidFill>
              <a:latin typeface="Titillium Lt" panose="00000400000000000000" pitchFamily="50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8" name="Freeform 245"/>
          <p:cNvSpPr>
            <a:spLocks noEditPoints="1"/>
          </p:cNvSpPr>
          <p:nvPr/>
        </p:nvSpPr>
        <p:spPr bwMode="auto">
          <a:xfrm>
            <a:off x="5783895" y="451313"/>
            <a:ext cx="624211" cy="707868"/>
          </a:xfrm>
          <a:custGeom>
            <a:avLst/>
            <a:gdLst>
              <a:gd name="T0" fmla="*/ 666 w 777"/>
              <a:gd name="T1" fmla="*/ 681 h 882"/>
              <a:gd name="T2" fmla="*/ 549 w 777"/>
              <a:gd name="T3" fmla="*/ 574 h 882"/>
              <a:gd name="T4" fmla="*/ 707 w 777"/>
              <a:gd name="T5" fmla="*/ 537 h 882"/>
              <a:gd name="T6" fmla="*/ 739 w 777"/>
              <a:gd name="T7" fmla="*/ 644 h 882"/>
              <a:gd name="T8" fmla="*/ 322 w 777"/>
              <a:gd name="T9" fmla="*/ 805 h 882"/>
              <a:gd name="T10" fmla="*/ 330 w 777"/>
              <a:gd name="T11" fmla="*/ 668 h 882"/>
              <a:gd name="T12" fmla="*/ 468 w 777"/>
              <a:gd name="T13" fmla="*/ 752 h 882"/>
              <a:gd name="T14" fmla="*/ 397 w 777"/>
              <a:gd name="T15" fmla="*/ 844 h 882"/>
              <a:gd name="T16" fmla="*/ 53 w 777"/>
              <a:gd name="T17" fmla="*/ 664 h 882"/>
              <a:gd name="T18" fmla="*/ 45 w 777"/>
              <a:gd name="T19" fmla="*/ 587 h 882"/>
              <a:gd name="T20" fmla="*/ 148 w 777"/>
              <a:gd name="T21" fmla="*/ 482 h 882"/>
              <a:gd name="T22" fmla="*/ 147 w 777"/>
              <a:gd name="T23" fmla="*/ 681 h 882"/>
              <a:gd name="T24" fmla="*/ 101 w 777"/>
              <a:gd name="T25" fmla="*/ 202 h 882"/>
              <a:gd name="T26" fmla="*/ 209 w 777"/>
              <a:gd name="T27" fmla="*/ 350 h 882"/>
              <a:gd name="T28" fmla="*/ 60 w 777"/>
              <a:gd name="T29" fmla="*/ 328 h 882"/>
              <a:gd name="T30" fmla="*/ 43 w 777"/>
              <a:gd name="T31" fmla="*/ 230 h 882"/>
              <a:gd name="T32" fmla="*/ 449 w 777"/>
              <a:gd name="T33" fmla="*/ 90 h 882"/>
              <a:gd name="T34" fmla="*/ 415 w 777"/>
              <a:gd name="T35" fmla="*/ 228 h 882"/>
              <a:gd name="T36" fmla="*/ 302 w 777"/>
              <a:gd name="T37" fmla="*/ 113 h 882"/>
              <a:gd name="T38" fmla="*/ 374 w 777"/>
              <a:gd name="T39" fmla="*/ 36 h 882"/>
              <a:gd name="T40" fmla="*/ 556 w 777"/>
              <a:gd name="T41" fmla="*/ 497 h 882"/>
              <a:gd name="T42" fmla="*/ 446 w 777"/>
              <a:gd name="T43" fmla="*/ 253 h 882"/>
              <a:gd name="T44" fmla="*/ 489 w 777"/>
              <a:gd name="T45" fmla="*/ 296 h 882"/>
              <a:gd name="T46" fmla="*/ 263 w 777"/>
              <a:gd name="T47" fmla="*/ 227 h 882"/>
              <a:gd name="T48" fmla="*/ 272 w 777"/>
              <a:gd name="T49" fmla="*/ 307 h 882"/>
              <a:gd name="T50" fmla="*/ 193 w 777"/>
              <a:gd name="T51" fmla="*/ 409 h 882"/>
              <a:gd name="T52" fmla="*/ 349 w 777"/>
              <a:gd name="T53" fmla="*/ 620 h 882"/>
              <a:gd name="T54" fmla="*/ 273 w 777"/>
              <a:gd name="T55" fmla="*/ 575 h 882"/>
              <a:gd name="T56" fmla="*/ 505 w 777"/>
              <a:gd name="T57" fmla="*/ 631 h 882"/>
              <a:gd name="T58" fmla="*/ 489 w 777"/>
              <a:gd name="T59" fmla="*/ 586 h 882"/>
              <a:gd name="T60" fmla="*/ 353 w 777"/>
              <a:gd name="T61" fmla="*/ 583 h 882"/>
              <a:gd name="T62" fmla="*/ 241 w 777"/>
              <a:gd name="T63" fmla="*/ 441 h 882"/>
              <a:gd name="T64" fmla="*/ 353 w 777"/>
              <a:gd name="T65" fmla="*/ 300 h 882"/>
              <a:gd name="T66" fmla="*/ 519 w 777"/>
              <a:gd name="T67" fmla="*/ 358 h 882"/>
              <a:gd name="T68" fmla="*/ 491 w 777"/>
              <a:gd name="T69" fmla="*/ 543 h 882"/>
              <a:gd name="T70" fmla="*/ 725 w 777"/>
              <a:gd name="T71" fmla="*/ 219 h 882"/>
              <a:gd name="T72" fmla="*/ 734 w 777"/>
              <a:gd name="T73" fmla="*/ 295 h 882"/>
              <a:gd name="T74" fmla="*/ 626 w 777"/>
              <a:gd name="T75" fmla="*/ 397 h 882"/>
              <a:gd name="T76" fmla="*/ 613 w 777"/>
              <a:gd name="T77" fmla="*/ 203 h 882"/>
              <a:gd name="T78" fmla="*/ 749 w 777"/>
              <a:gd name="T79" fmla="*/ 344 h 882"/>
              <a:gd name="T80" fmla="*/ 766 w 777"/>
              <a:gd name="T81" fmla="*/ 212 h 882"/>
              <a:gd name="T82" fmla="*/ 679 w 777"/>
              <a:gd name="T83" fmla="*/ 167 h 882"/>
              <a:gd name="T84" fmla="*/ 512 w 777"/>
              <a:gd name="T85" fmla="*/ 146 h 882"/>
              <a:gd name="T86" fmla="*/ 425 w 777"/>
              <a:gd name="T87" fmla="*/ 13 h 882"/>
              <a:gd name="T88" fmla="*/ 318 w 777"/>
              <a:gd name="T89" fmla="*/ 29 h 882"/>
              <a:gd name="T90" fmla="*/ 238 w 777"/>
              <a:gd name="T91" fmla="*/ 183 h 882"/>
              <a:gd name="T92" fmla="*/ 62 w 777"/>
              <a:gd name="T93" fmla="*/ 174 h 882"/>
              <a:gd name="T94" fmla="*/ 0 w 777"/>
              <a:gd name="T95" fmla="*/ 248 h 882"/>
              <a:gd name="T96" fmla="*/ 41 w 777"/>
              <a:gd name="T97" fmla="*/ 365 h 882"/>
              <a:gd name="T98" fmla="*/ 49 w 777"/>
              <a:gd name="T99" fmla="*/ 507 h 882"/>
              <a:gd name="T100" fmla="*/ 4 w 777"/>
              <a:gd name="T101" fmla="*/ 648 h 882"/>
              <a:gd name="T102" fmla="*/ 79 w 777"/>
              <a:gd name="T103" fmla="*/ 712 h 882"/>
              <a:gd name="T104" fmla="*/ 251 w 777"/>
              <a:gd name="T105" fmla="*/ 739 h 882"/>
              <a:gd name="T106" fmla="*/ 338 w 777"/>
              <a:gd name="T107" fmla="*/ 869 h 882"/>
              <a:gd name="T108" fmla="*/ 445 w 777"/>
              <a:gd name="T109" fmla="*/ 853 h 882"/>
              <a:gd name="T110" fmla="*/ 525 w 777"/>
              <a:gd name="T111" fmla="*/ 695 h 882"/>
              <a:gd name="T112" fmla="*/ 699 w 777"/>
              <a:gd name="T113" fmla="*/ 712 h 882"/>
              <a:gd name="T114" fmla="*/ 775 w 777"/>
              <a:gd name="T115" fmla="*/ 648 h 882"/>
              <a:gd name="T116" fmla="*/ 728 w 777"/>
              <a:gd name="T117" fmla="*/ 507 h 8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777" h="882">
                <a:moveTo>
                  <a:pt x="736" y="652"/>
                </a:moveTo>
                <a:lnTo>
                  <a:pt x="733" y="656"/>
                </a:lnTo>
                <a:lnTo>
                  <a:pt x="729" y="660"/>
                </a:lnTo>
                <a:lnTo>
                  <a:pt x="725" y="664"/>
                </a:lnTo>
                <a:lnTo>
                  <a:pt x="721" y="667"/>
                </a:lnTo>
                <a:lnTo>
                  <a:pt x="711" y="672"/>
                </a:lnTo>
                <a:lnTo>
                  <a:pt x="700" y="675"/>
                </a:lnTo>
                <a:lnTo>
                  <a:pt x="688" y="679"/>
                </a:lnTo>
                <a:lnTo>
                  <a:pt x="678" y="680"/>
                </a:lnTo>
                <a:lnTo>
                  <a:pt x="666" y="681"/>
                </a:lnTo>
                <a:lnTo>
                  <a:pt x="655" y="682"/>
                </a:lnTo>
                <a:lnTo>
                  <a:pt x="641" y="681"/>
                </a:lnTo>
                <a:lnTo>
                  <a:pt x="628" y="680"/>
                </a:lnTo>
                <a:lnTo>
                  <a:pt x="613" y="679"/>
                </a:lnTo>
                <a:lnTo>
                  <a:pt x="598" y="677"/>
                </a:lnTo>
                <a:lnTo>
                  <a:pt x="567" y="670"/>
                </a:lnTo>
                <a:lnTo>
                  <a:pt x="534" y="660"/>
                </a:lnTo>
                <a:lnTo>
                  <a:pt x="539" y="633"/>
                </a:lnTo>
                <a:lnTo>
                  <a:pt x="545" y="604"/>
                </a:lnTo>
                <a:lnTo>
                  <a:pt x="549" y="574"/>
                </a:lnTo>
                <a:lnTo>
                  <a:pt x="552" y="544"/>
                </a:lnTo>
                <a:lnTo>
                  <a:pt x="578" y="524"/>
                </a:lnTo>
                <a:lnTo>
                  <a:pt x="603" y="505"/>
                </a:lnTo>
                <a:lnTo>
                  <a:pt x="626" y="485"/>
                </a:lnTo>
                <a:lnTo>
                  <a:pt x="647" y="466"/>
                </a:lnTo>
                <a:lnTo>
                  <a:pt x="661" y="480"/>
                </a:lnTo>
                <a:lnTo>
                  <a:pt x="674" y="495"/>
                </a:lnTo>
                <a:lnTo>
                  <a:pt x="686" y="509"/>
                </a:lnTo>
                <a:lnTo>
                  <a:pt x="697" y="523"/>
                </a:lnTo>
                <a:lnTo>
                  <a:pt x="707" y="537"/>
                </a:lnTo>
                <a:lnTo>
                  <a:pt x="715" y="550"/>
                </a:lnTo>
                <a:lnTo>
                  <a:pt x="722" y="563"/>
                </a:lnTo>
                <a:lnTo>
                  <a:pt x="728" y="575"/>
                </a:lnTo>
                <a:lnTo>
                  <a:pt x="734" y="587"/>
                </a:lnTo>
                <a:lnTo>
                  <a:pt x="737" y="598"/>
                </a:lnTo>
                <a:lnTo>
                  <a:pt x="740" y="608"/>
                </a:lnTo>
                <a:lnTo>
                  <a:pt x="741" y="619"/>
                </a:lnTo>
                <a:lnTo>
                  <a:pt x="742" y="628"/>
                </a:lnTo>
                <a:lnTo>
                  <a:pt x="741" y="637"/>
                </a:lnTo>
                <a:lnTo>
                  <a:pt x="739" y="644"/>
                </a:lnTo>
                <a:lnTo>
                  <a:pt x="736" y="652"/>
                </a:lnTo>
                <a:close/>
                <a:moveTo>
                  <a:pt x="382" y="847"/>
                </a:moveTo>
                <a:lnTo>
                  <a:pt x="374" y="846"/>
                </a:lnTo>
                <a:lnTo>
                  <a:pt x="367" y="844"/>
                </a:lnTo>
                <a:lnTo>
                  <a:pt x="359" y="841"/>
                </a:lnTo>
                <a:lnTo>
                  <a:pt x="351" y="835"/>
                </a:lnTo>
                <a:lnTo>
                  <a:pt x="344" y="830"/>
                </a:lnTo>
                <a:lnTo>
                  <a:pt x="336" y="822"/>
                </a:lnTo>
                <a:lnTo>
                  <a:pt x="329" y="815"/>
                </a:lnTo>
                <a:lnTo>
                  <a:pt x="322" y="805"/>
                </a:lnTo>
                <a:lnTo>
                  <a:pt x="315" y="794"/>
                </a:lnTo>
                <a:lnTo>
                  <a:pt x="308" y="782"/>
                </a:lnTo>
                <a:lnTo>
                  <a:pt x="302" y="769"/>
                </a:lnTo>
                <a:lnTo>
                  <a:pt x="295" y="755"/>
                </a:lnTo>
                <a:lnTo>
                  <a:pt x="289" y="740"/>
                </a:lnTo>
                <a:lnTo>
                  <a:pt x="283" y="724"/>
                </a:lnTo>
                <a:lnTo>
                  <a:pt x="277" y="707"/>
                </a:lnTo>
                <a:lnTo>
                  <a:pt x="272" y="689"/>
                </a:lnTo>
                <a:lnTo>
                  <a:pt x="301" y="679"/>
                </a:lnTo>
                <a:lnTo>
                  <a:pt x="330" y="668"/>
                </a:lnTo>
                <a:lnTo>
                  <a:pt x="359" y="655"/>
                </a:lnTo>
                <a:lnTo>
                  <a:pt x="389" y="641"/>
                </a:lnTo>
                <a:lnTo>
                  <a:pt x="415" y="654"/>
                </a:lnTo>
                <a:lnTo>
                  <a:pt x="441" y="665"/>
                </a:lnTo>
                <a:lnTo>
                  <a:pt x="467" y="675"/>
                </a:lnTo>
                <a:lnTo>
                  <a:pt x="492" y="684"/>
                </a:lnTo>
                <a:lnTo>
                  <a:pt x="486" y="702"/>
                </a:lnTo>
                <a:lnTo>
                  <a:pt x="481" y="721"/>
                </a:lnTo>
                <a:lnTo>
                  <a:pt x="475" y="737"/>
                </a:lnTo>
                <a:lnTo>
                  <a:pt x="468" y="752"/>
                </a:lnTo>
                <a:lnTo>
                  <a:pt x="462" y="767"/>
                </a:lnTo>
                <a:lnTo>
                  <a:pt x="455" y="780"/>
                </a:lnTo>
                <a:lnTo>
                  <a:pt x="449" y="792"/>
                </a:lnTo>
                <a:lnTo>
                  <a:pt x="441" y="803"/>
                </a:lnTo>
                <a:lnTo>
                  <a:pt x="434" y="814"/>
                </a:lnTo>
                <a:lnTo>
                  <a:pt x="427" y="822"/>
                </a:lnTo>
                <a:lnTo>
                  <a:pt x="419" y="829"/>
                </a:lnTo>
                <a:lnTo>
                  <a:pt x="412" y="835"/>
                </a:lnTo>
                <a:lnTo>
                  <a:pt x="404" y="841"/>
                </a:lnTo>
                <a:lnTo>
                  <a:pt x="397" y="844"/>
                </a:lnTo>
                <a:lnTo>
                  <a:pt x="389" y="846"/>
                </a:lnTo>
                <a:lnTo>
                  <a:pt x="382" y="847"/>
                </a:lnTo>
                <a:close/>
                <a:moveTo>
                  <a:pt x="124" y="682"/>
                </a:moveTo>
                <a:lnTo>
                  <a:pt x="113" y="681"/>
                </a:lnTo>
                <a:lnTo>
                  <a:pt x="101" y="680"/>
                </a:lnTo>
                <a:lnTo>
                  <a:pt x="89" y="679"/>
                </a:lnTo>
                <a:lnTo>
                  <a:pt x="78" y="675"/>
                </a:lnTo>
                <a:lnTo>
                  <a:pt x="67" y="672"/>
                </a:lnTo>
                <a:lnTo>
                  <a:pt x="58" y="667"/>
                </a:lnTo>
                <a:lnTo>
                  <a:pt x="53" y="664"/>
                </a:lnTo>
                <a:lnTo>
                  <a:pt x="49" y="660"/>
                </a:lnTo>
                <a:lnTo>
                  <a:pt x="46" y="656"/>
                </a:lnTo>
                <a:lnTo>
                  <a:pt x="43" y="652"/>
                </a:lnTo>
                <a:lnTo>
                  <a:pt x="39" y="644"/>
                </a:lnTo>
                <a:lnTo>
                  <a:pt x="37" y="637"/>
                </a:lnTo>
                <a:lnTo>
                  <a:pt x="36" y="628"/>
                </a:lnTo>
                <a:lnTo>
                  <a:pt x="36" y="619"/>
                </a:lnTo>
                <a:lnTo>
                  <a:pt x="37" y="608"/>
                </a:lnTo>
                <a:lnTo>
                  <a:pt x="40" y="598"/>
                </a:lnTo>
                <a:lnTo>
                  <a:pt x="45" y="587"/>
                </a:lnTo>
                <a:lnTo>
                  <a:pt x="49" y="575"/>
                </a:lnTo>
                <a:lnTo>
                  <a:pt x="55" y="563"/>
                </a:lnTo>
                <a:lnTo>
                  <a:pt x="63" y="550"/>
                </a:lnTo>
                <a:lnTo>
                  <a:pt x="72" y="537"/>
                </a:lnTo>
                <a:lnTo>
                  <a:pt x="81" y="523"/>
                </a:lnTo>
                <a:lnTo>
                  <a:pt x="91" y="509"/>
                </a:lnTo>
                <a:lnTo>
                  <a:pt x="103" y="495"/>
                </a:lnTo>
                <a:lnTo>
                  <a:pt x="116" y="480"/>
                </a:lnTo>
                <a:lnTo>
                  <a:pt x="130" y="466"/>
                </a:lnTo>
                <a:lnTo>
                  <a:pt x="148" y="482"/>
                </a:lnTo>
                <a:lnTo>
                  <a:pt x="168" y="498"/>
                </a:lnTo>
                <a:lnTo>
                  <a:pt x="188" y="516"/>
                </a:lnTo>
                <a:lnTo>
                  <a:pt x="209" y="531"/>
                </a:lnTo>
                <a:lnTo>
                  <a:pt x="212" y="566"/>
                </a:lnTo>
                <a:lnTo>
                  <a:pt x="218" y="601"/>
                </a:lnTo>
                <a:lnTo>
                  <a:pt x="223" y="633"/>
                </a:lnTo>
                <a:lnTo>
                  <a:pt x="229" y="665"/>
                </a:lnTo>
                <a:lnTo>
                  <a:pt x="200" y="672"/>
                </a:lnTo>
                <a:lnTo>
                  <a:pt x="173" y="678"/>
                </a:lnTo>
                <a:lnTo>
                  <a:pt x="147" y="681"/>
                </a:lnTo>
                <a:lnTo>
                  <a:pt x="124" y="682"/>
                </a:lnTo>
                <a:close/>
                <a:moveTo>
                  <a:pt x="43" y="230"/>
                </a:moveTo>
                <a:lnTo>
                  <a:pt x="46" y="226"/>
                </a:lnTo>
                <a:lnTo>
                  <a:pt x="49" y="222"/>
                </a:lnTo>
                <a:lnTo>
                  <a:pt x="53" y="219"/>
                </a:lnTo>
                <a:lnTo>
                  <a:pt x="58" y="215"/>
                </a:lnTo>
                <a:lnTo>
                  <a:pt x="67" y="210"/>
                </a:lnTo>
                <a:lnTo>
                  <a:pt x="78" y="207"/>
                </a:lnTo>
                <a:lnTo>
                  <a:pt x="89" y="203"/>
                </a:lnTo>
                <a:lnTo>
                  <a:pt x="101" y="202"/>
                </a:lnTo>
                <a:lnTo>
                  <a:pt x="113" y="201"/>
                </a:lnTo>
                <a:lnTo>
                  <a:pt x="124" y="200"/>
                </a:lnTo>
                <a:lnTo>
                  <a:pt x="147" y="201"/>
                </a:lnTo>
                <a:lnTo>
                  <a:pt x="173" y="205"/>
                </a:lnTo>
                <a:lnTo>
                  <a:pt x="200" y="210"/>
                </a:lnTo>
                <a:lnTo>
                  <a:pt x="229" y="218"/>
                </a:lnTo>
                <a:lnTo>
                  <a:pt x="223" y="249"/>
                </a:lnTo>
                <a:lnTo>
                  <a:pt x="218" y="281"/>
                </a:lnTo>
                <a:lnTo>
                  <a:pt x="212" y="316"/>
                </a:lnTo>
                <a:lnTo>
                  <a:pt x="209" y="350"/>
                </a:lnTo>
                <a:lnTo>
                  <a:pt x="188" y="367"/>
                </a:lnTo>
                <a:lnTo>
                  <a:pt x="168" y="384"/>
                </a:lnTo>
                <a:lnTo>
                  <a:pt x="148" y="400"/>
                </a:lnTo>
                <a:lnTo>
                  <a:pt x="130" y="416"/>
                </a:lnTo>
                <a:lnTo>
                  <a:pt x="119" y="405"/>
                </a:lnTo>
                <a:lnTo>
                  <a:pt x="108" y="394"/>
                </a:lnTo>
                <a:lnTo>
                  <a:pt x="99" y="382"/>
                </a:lnTo>
                <a:lnTo>
                  <a:pt x="89" y="370"/>
                </a:lnTo>
                <a:lnTo>
                  <a:pt x="73" y="348"/>
                </a:lnTo>
                <a:lnTo>
                  <a:pt x="60" y="328"/>
                </a:lnTo>
                <a:lnTo>
                  <a:pt x="49" y="307"/>
                </a:lnTo>
                <a:lnTo>
                  <a:pt x="41" y="289"/>
                </a:lnTo>
                <a:lnTo>
                  <a:pt x="39" y="280"/>
                </a:lnTo>
                <a:lnTo>
                  <a:pt x="37" y="272"/>
                </a:lnTo>
                <a:lnTo>
                  <a:pt x="36" y="264"/>
                </a:lnTo>
                <a:lnTo>
                  <a:pt x="36" y="256"/>
                </a:lnTo>
                <a:lnTo>
                  <a:pt x="36" y="249"/>
                </a:lnTo>
                <a:lnTo>
                  <a:pt x="37" y="242"/>
                </a:lnTo>
                <a:lnTo>
                  <a:pt x="39" y="236"/>
                </a:lnTo>
                <a:lnTo>
                  <a:pt x="43" y="230"/>
                </a:lnTo>
                <a:close/>
                <a:moveTo>
                  <a:pt x="382" y="35"/>
                </a:moveTo>
                <a:lnTo>
                  <a:pt x="389" y="36"/>
                </a:lnTo>
                <a:lnTo>
                  <a:pt x="397" y="38"/>
                </a:lnTo>
                <a:lnTo>
                  <a:pt x="404" y="41"/>
                </a:lnTo>
                <a:lnTo>
                  <a:pt x="412" y="47"/>
                </a:lnTo>
                <a:lnTo>
                  <a:pt x="419" y="52"/>
                </a:lnTo>
                <a:lnTo>
                  <a:pt x="427" y="60"/>
                </a:lnTo>
                <a:lnTo>
                  <a:pt x="434" y="68"/>
                </a:lnTo>
                <a:lnTo>
                  <a:pt x="441" y="79"/>
                </a:lnTo>
                <a:lnTo>
                  <a:pt x="449" y="90"/>
                </a:lnTo>
                <a:lnTo>
                  <a:pt x="455" y="102"/>
                </a:lnTo>
                <a:lnTo>
                  <a:pt x="462" y="115"/>
                </a:lnTo>
                <a:lnTo>
                  <a:pt x="468" y="130"/>
                </a:lnTo>
                <a:lnTo>
                  <a:pt x="475" y="145"/>
                </a:lnTo>
                <a:lnTo>
                  <a:pt x="481" y="161"/>
                </a:lnTo>
                <a:lnTo>
                  <a:pt x="486" y="180"/>
                </a:lnTo>
                <a:lnTo>
                  <a:pt x="492" y="198"/>
                </a:lnTo>
                <a:lnTo>
                  <a:pt x="467" y="207"/>
                </a:lnTo>
                <a:lnTo>
                  <a:pt x="441" y="218"/>
                </a:lnTo>
                <a:lnTo>
                  <a:pt x="415" y="228"/>
                </a:lnTo>
                <a:lnTo>
                  <a:pt x="389" y="241"/>
                </a:lnTo>
                <a:lnTo>
                  <a:pt x="359" y="227"/>
                </a:lnTo>
                <a:lnTo>
                  <a:pt x="330" y="214"/>
                </a:lnTo>
                <a:lnTo>
                  <a:pt x="301" y="203"/>
                </a:lnTo>
                <a:lnTo>
                  <a:pt x="272" y="193"/>
                </a:lnTo>
                <a:lnTo>
                  <a:pt x="277" y="175"/>
                </a:lnTo>
                <a:lnTo>
                  <a:pt x="283" y="158"/>
                </a:lnTo>
                <a:lnTo>
                  <a:pt x="289" y="142"/>
                </a:lnTo>
                <a:lnTo>
                  <a:pt x="295" y="127"/>
                </a:lnTo>
                <a:lnTo>
                  <a:pt x="302" y="113"/>
                </a:lnTo>
                <a:lnTo>
                  <a:pt x="308" y="100"/>
                </a:lnTo>
                <a:lnTo>
                  <a:pt x="315" y="88"/>
                </a:lnTo>
                <a:lnTo>
                  <a:pt x="322" y="77"/>
                </a:lnTo>
                <a:lnTo>
                  <a:pt x="329" y="67"/>
                </a:lnTo>
                <a:lnTo>
                  <a:pt x="336" y="60"/>
                </a:lnTo>
                <a:lnTo>
                  <a:pt x="344" y="52"/>
                </a:lnTo>
                <a:lnTo>
                  <a:pt x="351" y="46"/>
                </a:lnTo>
                <a:lnTo>
                  <a:pt x="359" y="41"/>
                </a:lnTo>
                <a:lnTo>
                  <a:pt x="367" y="38"/>
                </a:lnTo>
                <a:lnTo>
                  <a:pt x="374" y="36"/>
                </a:lnTo>
                <a:lnTo>
                  <a:pt x="382" y="35"/>
                </a:lnTo>
                <a:close/>
                <a:moveTo>
                  <a:pt x="556" y="385"/>
                </a:moveTo>
                <a:lnTo>
                  <a:pt x="574" y="399"/>
                </a:lnTo>
                <a:lnTo>
                  <a:pt x="590" y="413"/>
                </a:lnTo>
                <a:lnTo>
                  <a:pt x="607" y="427"/>
                </a:lnTo>
                <a:lnTo>
                  <a:pt x="623" y="441"/>
                </a:lnTo>
                <a:lnTo>
                  <a:pt x="607" y="455"/>
                </a:lnTo>
                <a:lnTo>
                  <a:pt x="590" y="469"/>
                </a:lnTo>
                <a:lnTo>
                  <a:pt x="574" y="483"/>
                </a:lnTo>
                <a:lnTo>
                  <a:pt x="556" y="497"/>
                </a:lnTo>
                <a:lnTo>
                  <a:pt x="556" y="483"/>
                </a:lnTo>
                <a:lnTo>
                  <a:pt x="557" y="469"/>
                </a:lnTo>
                <a:lnTo>
                  <a:pt x="557" y="455"/>
                </a:lnTo>
                <a:lnTo>
                  <a:pt x="557" y="441"/>
                </a:lnTo>
                <a:lnTo>
                  <a:pt x="557" y="427"/>
                </a:lnTo>
                <a:lnTo>
                  <a:pt x="557" y="413"/>
                </a:lnTo>
                <a:lnTo>
                  <a:pt x="556" y="399"/>
                </a:lnTo>
                <a:lnTo>
                  <a:pt x="556" y="385"/>
                </a:lnTo>
                <a:close/>
                <a:moveTo>
                  <a:pt x="428" y="262"/>
                </a:moveTo>
                <a:lnTo>
                  <a:pt x="446" y="253"/>
                </a:lnTo>
                <a:lnTo>
                  <a:pt x="465" y="246"/>
                </a:lnTo>
                <a:lnTo>
                  <a:pt x="483" y="239"/>
                </a:lnTo>
                <a:lnTo>
                  <a:pt x="500" y="233"/>
                </a:lnTo>
                <a:lnTo>
                  <a:pt x="505" y="251"/>
                </a:lnTo>
                <a:lnTo>
                  <a:pt x="508" y="272"/>
                </a:lnTo>
                <a:lnTo>
                  <a:pt x="511" y="291"/>
                </a:lnTo>
                <a:lnTo>
                  <a:pt x="513" y="313"/>
                </a:lnTo>
                <a:lnTo>
                  <a:pt x="506" y="307"/>
                </a:lnTo>
                <a:lnTo>
                  <a:pt x="497" y="302"/>
                </a:lnTo>
                <a:lnTo>
                  <a:pt x="489" y="296"/>
                </a:lnTo>
                <a:lnTo>
                  <a:pt x="480" y="291"/>
                </a:lnTo>
                <a:lnTo>
                  <a:pt x="467" y="283"/>
                </a:lnTo>
                <a:lnTo>
                  <a:pt x="454" y="276"/>
                </a:lnTo>
                <a:lnTo>
                  <a:pt x="441" y="268"/>
                </a:lnTo>
                <a:lnTo>
                  <a:pt x="428" y="262"/>
                </a:lnTo>
                <a:close/>
                <a:moveTo>
                  <a:pt x="247" y="323"/>
                </a:moveTo>
                <a:lnTo>
                  <a:pt x="250" y="299"/>
                </a:lnTo>
                <a:lnTo>
                  <a:pt x="254" y="274"/>
                </a:lnTo>
                <a:lnTo>
                  <a:pt x="259" y="250"/>
                </a:lnTo>
                <a:lnTo>
                  <a:pt x="263" y="227"/>
                </a:lnTo>
                <a:lnTo>
                  <a:pt x="284" y="235"/>
                </a:lnTo>
                <a:lnTo>
                  <a:pt x="306" y="243"/>
                </a:lnTo>
                <a:lnTo>
                  <a:pt x="328" y="252"/>
                </a:lnTo>
                <a:lnTo>
                  <a:pt x="349" y="262"/>
                </a:lnTo>
                <a:lnTo>
                  <a:pt x="336" y="268"/>
                </a:lnTo>
                <a:lnTo>
                  <a:pt x="323" y="276"/>
                </a:lnTo>
                <a:lnTo>
                  <a:pt x="310" y="283"/>
                </a:lnTo>
                <a:lnTo>
                  <a:pt x="297" y="291"/>
                </a:lnTo>
                <a:lnTo>
                  <a:pt x="284" y="299"/>
                </a:lnTo>
                <a:lnTo>
                  <a:pt x="272" y="307"/>
                </a:lnTo>
                <a:lnTo>
                  <a:pt x="260" y="315"/>
                </a:lnTo>
                <a:lnTo>
                  <a:pt x="247" y="323"/>
                </a:lnTo>
                <a:close/>
                <a:moveTo>
                  <a:pt x="207" y="484"/>
                </a:moveTo>
                <a:lnTo>
                  <a:pt x="193" y="473"/>
                </a:lnTo>
                <a:lnTo>
                  <a:pt x="180" y="463"/>
                </a:lnTo>
                <a:lnTo>
                  <a:pt x="168" y="452"/>
                </a:lnTo>
                <a:lnTo>
                  <a:pt x="155" y="441"/>
                </a:lnTo>
                <a:lnTo>
                  <a:pt x="168" y="430"/>
                </a:lnTo>
                <a:lnTo>
                  <a:pt x="180" y="419"/>
                </a:lnTo>
                <a:lnTo>
                  <a:pt x="193" y="409"/>
                </a:lnTo>
                <a:lnTo>
                  <a:pt x="207" y="398"/>
                </a:lnTo>
                <a:lnTo>
                  <a:pt x="206" y="409"/>
                </a:lnTo>
                <a:lnTo>
                  <a:pt x="206" y="419"/>
                </a:lnTo>
                <a:lnTo>
                  <a:pt x="206" y="430"/>
                </a:lnTo>
                <a:lnTo>
                  <a:pt x="206" y="441"/>
                </a:lnTo>
                <a:lnTo>
                  <a:pt x="206" y="452"/>
                </a:lnTo>
                <a:lnTo>
                  <a:pt x="206" y="463"/>
                </a:lnTo>
                <a:lnTo>
                  <a:pt x="206" y="473"/>
                </a:lnTo>
                <a:lnTo>
                  <a:pt x="207" y="484"/>
                </a:lnTo>
                <a:close/>
                <a:moveTo>
                  <a:pt x="349" y="620"/>
                </a:moveTo>
                <a:lnTo>
                  <a:pt x="328" y="630"/>
                </a:lnTo>
                <a:lnTo>
                  <a:pt x="306" y="639"/>
                </a:lnTo>
                <a:lnTo>
                  <a:pt x="284" y="647"/>
                </a:lnTo>
                <a:lnTo>
                  <a:pt x="263" y="655"/>
                </a:lnTo>
                <a:lnTo>
                  <a:pt x="259" y="632"/>
                </a:lnTo>
                <a:lnTo>
                  <a:pt x="254" y="608"/>
                </a:lnTo>
                <a:lnTo>
                  <a:pt x="250" y="584"/>
                </a:lnTo>
                <a:lnTo>
                  <a:pt x="247" y="559"/>
                </a:lnTo>
                <a:lnTo>
                  <a:pt x="260" y="566"/>
                </a:lnTo>
                <a:lnTo>
                  <a:pt x="273" y="575"/>
                </a:lnTo>
                <a:lnTo>
                  <a:pt x="284" y="584"/>
                </a:lnTo>
                <a:lnTo>
                  <a:pt x="297" y="591"/>
                </a:lnTo>
                <a:lnTo>
                  <a:pt x="310" y="599"/>
                </a:lnTo>
                <a:lnTo>
                  <a:pt x="323" y="606"/>
                </a:lnTo>
                <a:lnTo>
                  <a:pt x="336" y="614"/>
                </a:lnTo>
                <a:lnTo>
                  <a:pt x="349" y="620"/>
                </a:lnTo>
                <a:close/>
                <a:moveTo>
                  <a:pt x="513" y="570"/>
                </a:moveTo>
                <a:lnTo>
                  <a:pt x="511" y="591"/>
                </a:lnTo>
                <a:lnTo>
                  <a:pt x="508" y="611"/>
                </a:lnTo>
                <a:lnTo>
                  <a:pt x="505" y="631"/>
                </a:lnTo>
                <a:lnTo>
                  <a:pt x="500" y="650"/>
                </a:lnTo>
                <a:lnTo>
                  <a:pt x="483" y="643"/>
                </a:lnTo>
                <a:lnTo>
                  <a:pt x="465" y="637"/>
                </a:lnTo>
                <a:lnTo>
                  <a:pt x="446" y="629"/>
                </a:lnTo>
                <a:lnTo>
                  <a:pt x="428" y="620"/>
                </a:lnTo>
                <a:lnTo>
                  <a:pt x="441" y="614"/>
                </a:lnTo>
                <a:lnTo>
                  <a:pt x="454" y="606"/>
                </a:lnTo>
                <a:lnTo>
                  <a:pt x="467" y="599"/>
                </a:lnTo>
                <a:lnTo>
                  <a:pt x="480" y="591"/>
                </a:lnTo>
                <a:lnTo>
                  <a:pt x="489" y="586"/>
                </a:lnTo>
                <a:lnTo>
                  <a:pt x="497" y="580"/>
                </a:lnTo>
                <a:lnTo>
                  <a:pt x="506" y="575"/>
                </a:lnTo>
                <a:lnTo>
                  <a:pt x="513" y="570"/>
                </a:lnTo>
                <a:close/>
                <a:moveTo>
                  <a:pt x="462" y="561"/>
                </a:moveTo>
                <a:lnTo>
                  <a:pt x="443" y="572"/>
                </a:lnTo>
                <a:lnTo>
                  <a:pt x="426" y="583"/>
                </a:lnTo>
                <a:lnTo>
                  <a:pt x="408" y="592"/>
                </a:lnTo>
                <a:lnTo>
                  <a:pt x="389" y="602"/>
                </a:lnTo>
                <a:lnTo>
                  <a:pt x="371" y="592"/>
                </a:lnTo>
                <a:lnTo>
                  <a:pt x="353" y="583"/>
                </a:lnTo>
                <a:lnTo>
                  <a:pt x="334" y="572"/>
                </a:lnTo>
                <a:lnTo>
                  <a:pt x="316" y="561"/>
                </a:lnTo>
                <a:lnTo>
                  <a:pt x="297" y="549"/>
                </a:lnTo>
                <a:lnTo>
                  <a:pt x="279" y="537"/>
                </a:lnTo>
                <a:lnTo>
                  <a:pt x="261" y="525"/>
                </a:lnTo>
                <a:lnTo>
                  <a:pt x="243" y="512"/>
                </a:lnTo>
                <a:lnTo>
                  <a:pt x="242" y="495"/>
                </a:lnTo>
                <a:lnTo>
                  <a:pt x="241" y="478"/>
                </a:lnTo>
                <a:lnTo>
                  <a:pt x="241" y="459"/>
                </a:lnTo>
                <a:lnTo>
                  <a:pt x="241" y="441"/>
                </a:lnTo>
                <a:lnTo>
                  <a:pt x="241" y="423"/>
                </a:lnTo>
                <a:lnTo>
                  <a:pt x="241" y="404"/>
                </a:lnTo>
                <a:lnTo>
                  <a:pt x="242" y="387"/>
                </a:lnTo>
                <a:lnTo>
                  <a:pt x="243" y="370"/>
                </a:lnTo>
                <a:lnTo>
                  <a:pt x="261" y="357"/>
                </a:lnTo>
                <a:lnTo>
                  <a:pt x="278" y="345"/>
                </a:lnTo>
                <a:lnTo>
                  <a:pt x="297" y="333"/>
                </a:lnTo>
                <a:lnTo>
                  <a:pt x="316" y="321"/>
                </a:lnTo>
                <a:lnTo>
                  <a:pt x="334" y="310"/>
                </a:lnTo>
                <a:lnTo>
                  <a:pt x="353" y="300"/>
                </a:lnTo>
                <a:lnTo>
                  <a:pt x="371" y="290"/>
                </a:lnTo>
                <a:lnTo>
                  <a:pt x="389" y="280"/>
                </a:lnTo>
                <a:lnTo>
                  <a:pt x="408" y="290"/>
                </a:lnTo>
                <a:lnTo>
                  <a:pt x="426" y="300"/>
                </a:lnTo>
                <a:lnTo>
                  <a:pt x="443" y="310"/>
                </a:lnTo>
                <a:lnTo>
                  <a:pt x="462" y="321"/>
                </a:lnTo>
                <a:lnTo>
                  <a:pt x="477" y="330"/>
                </a:lnTo>
                <a:lnTo>
                  <a:pt x="491" y="340"/>
                </a:lnTo>
                <a:lnTo>
                  <a:pt x="505" y="349"/>
                </a:lnTo>
                <a:lnTo>
                  <a:pt x="519" y="358"/>
                </a:lnTo>
                <a:lnTo>
                  <a:pt x="520" y="378"/>
                </a:lnTo>
                <a:lnTo>
                  <a:pt x="521" y="399"/>
                </a:lnTo>
                <a:lnTo>
                  <a:pt x="521" y="419"/>
                </a:lnTo>
                <a:lnTo>
                  <a:pt x="522" y="441"/>
                </a:lnTo>
                <a:lnTo>
                  <a:pt x="521" y="463"/>
                </a:lnTo>
                <a:lnTo>
                  <a:pt x="521" y="483"/>
                </a:lnTo>
                <a:lnTo>
                  <a:pt x="520" y="504"/>
                </a:lnTo>
                <a:lnTo>
                  <a:pt x="519" y="524"/>
                </a:lnTo>
                <a:lnTo>
                  <a:pt x="505" y="533"/>
                </a:lnTo>
                <a:lnTo>
                  <a:pt x="491" y="543"/>
                </a:lnTo>
                <a:lnTo>
                  <a:pt x="477" y="552"/>
                </a:lnTo>
                <a:lnTo>
                  <a:pt x="462" y="561"/>
                </a:lnTo>
                <a:close/>
                <a:moveTo>
                  <a:pt x="655" y="200"/>
                </a:moveTo>
                <a:lnTo>
                  <a:pt x="666" y="201"/>
                </a:lnTo>
                <a:lnTo>
                  <a:pt x="678" y="202"/>
                </a:lnTo>
                <a:lnTo>
                  <a:pt x="688" y="203"/>
                </a:lnTo>
                <a:lnTo>
                  <a:pt x="700" y="207"/>
                </a:lnTo>
                <a:lnTo>
                  <a:pt x="711" y="210"/>
                </a:lnTo>
                <a:lnTo>
                  <a:pt x="721" y="215"/>
                </a:lnTo>
                <a:lnTo>
                  <a:pt x="725" y="219"/>
                </a:lnTo>
                <a:lnTo>
                  <a:pt x="729" y="222"/>
                </a:lnTo>
                <a:lnTo>
                  <a:pt x="733" y="226"/>
                </a:lnTo>
                <a:lnTo>
                  <a:pt x="736" y="230"/>
                </a:lnTo>
                <a:lnTo>
                  <a:pt x="739" y="237"/>
                </a:lnTo>
                <a:lnTo>
                  <a:pt x="741" y="246"/>
                </a:lnTo>
                <a:lnTo>
                  <a:pt x="742" y="254"/>
                </a:lnTo>
                <a:lnTo>
                  <a:pt x="741" y="263"/>
                </a:lnTo>
                <a:lnTo>
                  <a:pt x="740" y="274"/>
                </a:lnTo>
                <a:lnTo>
                  <a:pt x="737" y="284"/>
                </a:lnTo>
                <a:lnTo>
                  <a:pt x="734" y="295"/>
                </a:lnTo>
                <a:lnTo>
                  <a:pt x="728" y="307"/>
                </a:lnTo>
                <a:lnTo>
                  <a:pt x="722" y="319"/>
                </a:lnTo>
                <a:lnTo>
                  <a:pt x="715" y="332"/>
                </a:lnTo>
                <a:lnTo>
                  <a:pt x="707" y="345"/>
                </a:lnTo>
                <a:lnTo>
                  <a:pt x="697" y="359"/>
                </a:lnTo>
                <a:lnTo>
                  <a:pt x="686" y="373"/>
                </a:lnTo>
                <a:lnTo>
                  <a:pt x="674" y="387"/>
                </a:lnTo>
                <a:lnTo>
                  <a:pt x="661" y="402"/>
                </a:lnTo>
                <a:lnTo>
                  <a:pt x="647" y="416"/>
                </a:lnTo>
                <a:lnTo>
                  <a:pt x="626" y="397"/>
                </a:lnTo>
                <a:lnTo>
                  <a:pt x="603" y="377"/>
                </a:lnTo>
                <a:lnTo>
                  <a:pt x="578" y="358"/>
                </a:lnTo>
                <a:lnTo>
                  <a:pt x="552" y="338"/>
                </a:lnTo>
                <a:lnTo>
                  <a:pt x="549" y="307"/>
                </a:lnTo>
                <a:lnTo>
                  <a:pt x="545" y="278"/>
                </a:lnTo>
                <a:lnTo>
                  <a:pt x="539" y="249"/>
                </a:lnTo>
                <a:lnTo>
                  <a:pt x="534" y="222"/>
                </a:lnTo>
                <a:lnTo>
                  <a:pt x="567" y="212"/>
                </a:lnTo>
                <a:lnTo>
                  <a:pt x="598" y="206"/>
                </a:lnTo>
                <a:lnTo>
                  <a:pt x="613" y="203"/>
                </a:lnTo>
                <a:lnTo>
                  <a:pt x="628" y="202"/>
                </a:lnTo>
                <a:lnTo>
                  <a:pt x="641" y="201"/>
                </a:lnTo>
                <a:lnTo>
                  <a:pt x="655" y="200"/>
                </a:lnTo>
                <a:close/>
                <a:moveTo>
                  <a:pt x="673" y="441"/>
                </a:moveTo>
                <a:lnTo>
                  <a:pt x="688" y="425"/>
                </a:lnTo>
                <a:lnTo>
                  <a:pt x="704" y="408"/>
                </a:lnTo>
                <a:lnTo>
                  <a:pt x="716" y="391"/>
                </a:lnTo>
                <a:lnTo>
                  <a:pt x="728" y="375"/>
                </a:lnTo>
                <a:lnTo>
                  <a:pt x="739" y="359"/>
                </a:lnTo>
                <a:lnTo>
                  <a:pt x="749" y="344"/>
                </a:lnTo>
                <a:lnTo>
                  <a:pt x="758" y="329"/>
                </a:lnTo>
                <a:lnTo>
                  <a:pt x="764" y="314"/>
                </a:lnTo>
                <a:lnTo>
                  <a:pt x="769" y="299"/>
                </a:lnTo>
                <a:lnTo>
                  <a:pt x="774" y="284"/>
                </a:lnTo>
                <a:lnTo>
                  <a:pt x="776" y="270"/>
                </a:lnTo>
                <a:lnTo>
                  <a:pt x="777" y="257"/>
                </a:lnTo>
                <a:lnTo>
                  <a:pt x="777" y="246"/>
                </a:lnTo>
                <a:lnTo>
                  <a:pt x="775" y="234"/>
                </a:lnTo>
                <a:lnTo>
                  <a:pt x="770" y="223"/>
                </a:lnTo>
                <a:lnTo>
                  <a:pt x="766" y="212"/>
                </a:lnTo>
                <a:lnTo>
                  <a:pt x="760" y="203"/>
                </a:lnTo>
                <a:lnTo>
                  <a:pt x="752" y="196"/>
                </a:lnTo>
                <a:lnTo>
                  <a:pt x="742" y="188"/>
                </a:lnTo>
                <a:lnTo>
                  <a:pt x="731" y="181"/>
                </a:lnTo>
                <a:lnTo>
                  <a:pt x="724" y="178"/>
                </a:lnTo>
                <a:lnTo>
                  <a:pt x="716" y="174"/>
                </a:lnTo>
                <a:lnTo>
                  <a:pt x="708" y="172"/>
                </a:lnTo>
                <a:lnTo>
                  <a:pt x="699" y="170"/>
                </a:lnTo>
                <a:lnTo>
                  <a:pt x="689" y="168"/>
                </a:lnTo>
                <a:lnTo>
                  <a:pt x="679" y="167"/>
                </a:lnTo>
                <a:lnTo>
                  <a:pt x="667" y="166"/>
                </a:lnTo>
                <a:lnTo>
                  <a:pt x="655" y="166"/>
                </a:lnTo>
                <a:lnTo>
                  <a:pt x="640" y="166"/>
                </a:lnTo>
                <a:lnTo>
                  <a:pt x="625" y="167"/>
                </a:lnTo>
                <a:lnTo>
                  <a:pt x="610" y="169"/>
                </a:lnTo>
                <a:lnTo>
                  <a:pt x="593" y="171"/>
                </a:lnTo>
                <a:lnTo>
                  <a:pt x="560" y="178"/>
                </a:lnTo>
                <a:lnTo>
                  <a:pt x="525" y="187"/>
                </a:lnTo>
                <a:lnTo>
                  <a:pt x="520" y="167"/>
                </a:lnTo>
                <a:lnTo>
                  <a:pt x="512" y="146"/>
                </a:lnTo>
                <a:lnTo>
                  <a:pt x="506" y="128"/>
                </a:lnTo>
                <a:lnTo>
                  <a:pt x="498" y="110"/>
                </a:lnTo>
                <a:lnTo>
                  <a:pt x="491" y="93"/>
                </a:lnTo>
                <a:lnTo>
                  <a:pt x="482" y="78"/>
                </a:lnTo>
                <a:lnTo>
                  <a:pt x="473" y="64"/>
                </a:lnTo>
                <a:lnTo>
                  <a:pt x="464" y="51"/>
                </a:lnTo>
                <a:lnTo>
                  <a:pt x="455" y="39"/>
                </a:lnTo>
                <a:lnTo>
                  <a:pt x="445" y="30"/>
                </a:lnTo>
                <a:lnTo>
                  <a:pt x="435" y="21"/>
                </a:lnTo>
                <a:lnTo>
                  <a:pt x="425" y="13"/>
                </a:lnTo>
                <a:lnTo>
                  <a:pt x="414" y="8"/>
                </a:lnTo>
                <a:lnTo>
                  <a:pt x="403" y="4"/>
                </a:lnTo>
                <a:lnTo>
                  <a:pt x="392" y="2"/>
                </a:lnTo>
                <a:lnTo>
                  <a:pt x="382" y="0"/>
                </a:lnTo>
                <a:lnTo>
                  <a:pt x="370" y="2"/>
                </a:lnTo>
                <a:lnTo>
                  <a:pt x="359" y="4"/>
                </a:lnTo>
                <a:lnTo>
                  <a:pt x="348" y="8"/>
                </a:lnTo>
                <a:lnTo>
                  <a:pt x="338" y="13"/>
                </a:lnTo>
                <a:lnTo>
                  <a:pt x="328" y="20"/>
                </a:lnTo>
                <a:lnTo>
                  <a:pt x="318" y="29"/>
                </a:lnTo>
                <a:lnTo>
                  <a:pt x="308" y="38"/>
                </a:lnTo>
                <a:lnTo>
                  <a:pt x="299" y="50"/>
                </a:lnTo>
                <a:lnTo>
                  <a:pt x="290" y="62"/>
                </a:lnTo>
                <a:lnTo>
                  <a:pt x="281" y="76"/>
                </a:lnTo>
                <a:lnTo>
                  <a:pt x="273" y="91"/>
                </a:lnTo>
                <a:lnTo>
                  <a:pt x="265" y="107"/>
                </a:lnTo>
                <a:lnTo>
                  <a:pt x="257" y="125"/>
                </a:lnTo>
                <a:lnTo>
                  <a:pt x="251" y="143"/>
                </a:lnTo>
                <a:lnTo>
                  <a:pt x="245" y="162"/>
                </a:lnTo>
                <a:lnTo>
                  <a:pt x="238" y="183"/>
                </a:lnTo>
                <a:lnTo>
                  <a:pt x="207" y="175"/>
                </a:lnTo>
                <a:lnTo>
                  <a:pt x="178" y="170"/>
                </a:lnTo>
                <a:lnTo>
                  <a:pt x="149" y="167"/>
                </a:lnTo>
                <a:lnTo>
                  <a:pt x="124" y="166"/>
                </a:lnTo>
                <a:lnTo>
                  <a:pt x="111" y="166"/>
                </a:lnTo>
                <a:lnTo>
                  <a:pt x="100" y="167"/>
                </a:lnTo>
                <a:lnTo>
                  <a:pt x="89" y="168"/>
                </a:lnTo>
                <a:lnTo>
                  <a:pt x="79" y="170"/>
                </a:lnTo>
                <a:lnTo>
                  <a:pt x="70" y="172"/>
                </a:lnTo>
                <a:lnTo>
                  <a:pt x="62" y="174"/>
                </a:lnTo>
                <a:lnTo>
                  <a:pt x="54" y="178"/>
                </a:lnTo>
                <a:lnTo>
                  <a:pt x="47" y="181"/>
                </a:lnTo>
                <a:lnTo>
                  <a:pt x="35" y="188"/>
                </a:lnTo>
                <a:lnTo>
                  <a:pt x="25" y="196"/>
                </a:lnTo>
                <a:lnTo>
                  <a:pt x="18" y="203"/>
                </a:lnTo>
                <a:lnTo>
                  <a:pt x="12" y="212"/>
                </a:lnTo>
                <a:lnTo>
                  <a:pt x="8" y="221"/>
                </a:lnTo>
                <a:lnTo>
                  <a:pt x="5" y="229"/>
                </a:lnTo>
                <a:lnTo>
                  <a:pt x="3" y="238"/>
                </a:lnTo>
                <a:lnTo>
                  <a:pt x="0" y="248"/>
                </a:lnTo>
                <a:lnTo>
                  <a:pt x="0" y="259"/>
                </a:lnTo>
                <a:lnTo>
                  <a:pt x="1" y="268"/>
                </a:lnTo>
                <a:lnTo>
                  <a:pt x="3" y="279"/>
                </a:lnTo>
                <a:lnTo>
                  <a:pt x="6" y="291"/>
                </a:lnTo>
                <a:lnTo>
                  <a:pt x="9" y="302"/>
                </a:lnTo>
                <a:lnTo>
                  <a:pt x="13" y="315"/>
                </a:lnTo>
                <a:lnTo>
                  <a:pt x="19" y="327"/>
                </a:lnTo>
                <a:lnTo>
                  <a:pt x="25" y="340"/>
                </a:lnTo>
                <a:lnTo>
                  <a:pt x="33" y="351"/>
                </a:lnTo>
                <a:lnTo>
                  <a:pt x="41" y="365"/>
                </a:lnTo>
                <a:lnTo>
                  <a:pt x="51" y="378"/>
                </a:lnTo>
                <a:lnTo>
                  <a:pt x="61" y="392"/>
                </a:lnTo>
                <a:lnTo>
                  <a:pt x="72" y="404"/>
                </a:lnTo>
                <a:lnTo>
                  <a:pt x="81" y="416"/>
                </a:lnTo>
                <a:lnTo>
                  <a:pt x="93" y="429"/>
                </a:lnTo>
                <a:lnTo>
                  <a:pt x="105" y="441"/>
                </a:lnTo>
                <a:lnTo>
                  <a:pt x="89" y="458"/>
                </a:lnTo>
                <a:lnTo>
                  <a:pt x="75" y="475"/>
                </a:lnTo>
                <a:lnTo>
                  <a:pt x="61" y="491"/>
                </a:lnTo>
                <a:lnTo>
                  <a:pt x="49" y="507"/>
                </a:lnTo>
                <a:lnTo>
                  <a:pt x="38" y="523"/>
                </a:lnTo>
                <a:lnTo>
                  <a:pt x="28" y="538"/>
                </a:lnTo>
                <a:lnTo>
                  <a:pt x="21" y="553"/>
                </a:lnTo>
                <a:lnTo>
                  <a:pt x="14" y="569"/>
                </a:lnTo>
                <a:lnTo>
                  <a:pt x="8" y="584"/>
                </a:lnTo>
                <a:lnTo>
                  <a:pt x="5" y="598"/>
                </a:lnTo>
                <a:lnTo>
                  <a:pt x="1" y="612"/>
                </a:lnTo>
                <a:lnTo>
                  <a:pt x="0" y="625"/>
                </a:lnTo>
                <a:lnTo>
                  <a:pt x="1" y="637"/>
                </a:lnTo>
                <a:lnTo>
                  <a:pt x="4" y="648"/>
                </a:lnTo>
                <a:lnTo>
                  <a:pt x="7" y="659"/>
                </a:lnTo>
                <a:lnTo>
                  <a:pt x="12" y="670"/>
                </a:lnTo>
                <a:lnTo>
                  <a:pt x="18" y="679"/>
                </a:lnTo>
                <a:lnTo>
                  <a:pt x="25" y="686"/>
                </a:lnTo>
                <a:lnTo>
                  <a:pt x="35" y="694"/>
                </a:lnTo>
                <a:lnTo>
                  <a:pt x="47" y="701"/>
                </a:lnTo>
                <a:lnTo>
                  <a:pt x="54" y="705"/>
                </a:lnTo>
                <a:lnTo>
                  <a:pt x="62" y="708"/>
                </a:lnTo>
                <a:lnTo>
                  <a:pt x="70" y="710"/>
                </a:lnTo>
                <a:lnTo>
                  <a:pt x="79" y="712"/>
                </a:lnTo>
                <a:lnTo>
                  <a:pt x="89" y="714"/>
                </a:lnTo>
                <a:lnTo>
                  <a:pt x="100" y="715"/>
                </a:lnTo>
                <a:lnTo>
                  <a:pt x="111" y="716"/>
                </a:lnTo>
                <a:lnTo>
                  <a:pt x="124" y="716"/>
                </a:lnTo>
                <a:lnTo>
                  <a:pt x="149" y="715"/>
                </a:lnTo>
                <a:lnTo>
                  <a:pt x="178" y="712"/>
                </a:lnTo>
                <a:lnTo>
                  <a:pt x="207" y="707"/>
                </a:lnTo>
                <a:lnTo>
                  <a:pt x="238" y="699"/>
                </a:lnTo>
                <a:lnTo>
                  <a:pt x="245" y="720"/>
                </a:lnTo>
                <a:lnTo>
                  <a:pt x="251" y="739"/>
                </a:lnTo>
                <a:lnTo>
                  <a:pt x="257" y="758"/>
                </a:lnTo>
                <a:lnTo>
                  <a:pt x="265" y="775"/>
                </a:lnTo>
                <a:lnTo>
                  <a:pt x="273" y="791"/>
                </a:lnTo>
                <a:lnTo>
                  <a:pt x="281" y="806"/>
                </a:lnTo>
                <a:lnTo>
                  <a:pt x="290" y="820"/>
                </a:lnTo>
                <a:lnTo>
                  <a:pt x="299" y="832"/>
                </a:lnTo>
                <a:lnTo>
                  <a:pt x="308" y="844"/>
                </a:lnTo>
                <a:lnTo>
                  <a:pt x="318" y="854"/>
                </a:lnTo>
                <a:lnTo>
                  <a:pt x="328" y="862"/>
                </a:lnTo>
                <a:lnTo>
                  <a:pt x="338" y="869"/>
                </a:lnTo>
                <a:lnTo>
                  <a:pt x="348" y="874"/>
                </a:lnTo>
                <a:lnTo>
                  <a:pt x="359" y="878"/>
                </a:lnTo>
                <a:lnTo>
                  <a:pt x="370" y="881"/>
                </a:lnTo>
                <a:lnTo>
                  <a:pt x="382" y="882"/>
                </a:lnTo>
                <a:lnTo>
                  <a:pt x="392" y="881"/>
                </a:lnTo>
                <a:lnTo>
                  <a:pt x="403" y="878"/>
                </a:lnTo>
                <a:lnTo>
                  <a:pt x="414" y="874"/>
                </a:lnTo>
                <a:lnTo>
                  <a:pt x="425" y="869"/>
                </a:lnTo>
                <a:lnTo>
                  <a:pt x="435" y="861"/>
                </a:lnTo>
                <a:lnTo>
                  <a:pt x="445" y="853"/>
                </a:lnTo>
                <a:lnTo>
                  <a:pt x="455" y="843"/>
                </a:lnTo>
                <a:lnTo>
                  <a:pt x="464" y="831"/>
                </a:lnTo>
                <a:lnTo>
                  <a:pt x="473" y="818"/>
                </a:lnTo>
                <a:lnTo>
                  <a:pt x="482" y="804"/>
                </a:lnTo>
                <a:lnTo>
                  <a:pt x="491" y="789"/>
                </a:lnTo>
                <a:lnTo>
                  <a:pt x="498" y="773"/>
                </a:lnTo>
                <a:lnTo>
                  <a:pt x="506" y="754"/>
                </a:lnTo>
                <a:lnTo>
                  <a:pt x="512" y="736"/>
                </a:lnTo>
                <a:lnTo>
                  <a:pt x="520" y="715"/>
                </a:lnTo>
                <a:lnTo>
                  <a:pt x="525" y="695"/>
                </a:lnTo>
                <a:lnTo>
                  <a:pt x="560" y="705"/>
                </a:lnTo>
                <a:lnTo>
                  <a:pt x="593" y="711"/>
                </a:lnTo>
                <a:lnTo>
                  <a:pt x="610" y="713"/>
                </a:lnTo>
                <a:lnTo>
                  <a:pt x="625" y="715"/>
                </a:lnTo>
                <a:lnTo>
                  <a:pt x="640" y="716"/>
                </a:lnTo>
                <a:lnTo>
                  <a:pt x="655" y="716"/>
                </a:lnTo>
                <a:lnTo>
                  <a:pt x="667" y="716"/>
                </a:lnTo>
                <a:lnTo>
                  <a:pt x="679" y="715"/>
                </a:lnTo>
                <a:lnTo>
                  <a:pt x="689" y="714"/>
                </a:lnTo>
                <a:lnTo>
                  <a:pt x="699" y="712"/>
                </a:lnTo>
                <a:lnTo>
                  <a:pt x="708" y="710"/>
                </a:lnTo>
                <a:lnTo>
                  <a:pt x="716" y="708"/>
                </a:lnTo>
                <a:lnTo>
                  <a:pt x="724" y="705"/>
                </a:lnTo>
                <a:lnTo>
                  <a:pt x="731" y="701"/>
                </a:lnTo>
                <a:lnTo>
                  <a:pt x="742" y="694"/>
                </a:lnTo>
                <a:lnTo>
                  <a:pt x="752" y="686"/>
                </a:lnTo>
                <a:lnTo>
                  <a:pt x="760" y="679"/>
                </a:lnTo>
                <a:lnTo>
                  <a:pt x="766" y="670"/>
                </a:lnTo>
                <a:lnTo>
                  <a:pt x="770" y="659"/>
                </a:lnTo>
                <a:lnTo>
                  <a:pt x="775" y="648"/>
                </a:lnTo>
                <a:lnTo>
                  <a:pt x="777" y="637"/>
                </a:lnTo>
                <a:lnTo>
                  <a:pt x="777" y="625"/>
                </a:lnTo>
                <a:lnTo>
                  <a:pt x="776" y="611"/>
                </a:lnTo>
                <a:lnTo>
                  <a:pt x="774" y="598"/>
                </a:lnTo>
                <a:lnTo>
                  <a:pt x="769" y="584"/>
                </a:lnTo>
                <a:lnTo>
                  <a:pt x="764" y="569"/>
                </a:lnTo>
                <a:lnTo>
                  <a:pt x="758" y="553"/>
                </a:lnTo>
                <a:lnTo>
                  <a:pt x="749" y="538"/>
                </a:lnTo>
                <a:lnTo>
                  <a:pt x="739" y="523"/>
                </a:lnTo>
                <a:lnTo>
                  <a:pt x="728" y="507"/>
                </a:lnTo>
                <a:lnTo>
                  <a:pt x="716" y="491"/>
                </a:lnTo>
                <a:lnTo>
                  <a:pt x="702" y="475"/>
                </a:lnTo>
                <a:lnTo>
                  <a:pt x="688" y="457"/>
                </a:lnTo>
                <a:lnTo>
                  <a:pt x="673" y="44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4133" y="2793190"/>
            <a:ext cx="2303734" cy="2303734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9611" y="2930933"/>
            <a:ext cx="1777132" cy="1777132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292" y="3489017"/>
            <a:ext cx="1219048" cy="121904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C7EDB73-31B2-49B9-9550-94AE07F22AD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169" b="25990"/>
          <a:stretch/>
        </p:blipFill>
        <p:spPr>
          <a:xfrm>
            <a:off x="4971775" y="5347841"/>
            <a:ext cx="2112092" cy="1160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0683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900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8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ABCCDEA-8A92-40D4-9984-1B6EC3DE5134}"/>
              </a:ext>
            </a:extLst>
          </p:cNvPr>
          <p:cNvSpPr txBox="1"/>
          <p:nvPr/>
        </p:nvSpPr>
        <p:spPr>
          <a:xfrm>
            <a:off x="1720517" y="1354870"/>
            <a:ext cx="825244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spc="600" dirty="0">
                <a:solidFill>
                  <a:schemeClr val="bg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MERCI POUR VOTRE ATTEN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8C08106-493C-40F0-BFC2-58E4FC74A68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7799" y="3197691"/>
            <a:ext cx="1471559" cy="1471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7953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>
            <p:custDataLst>
              <p:tags r:id="rId1"/>
            </p:custDataLst>
          </p:nvPr>
        </p:nvSpPr>
        <p:spPr>
          <a:xfrm>
            <a:off x="1460500" y="1510159"/>
            <a:ext cx="9271000" cy="56644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spc="600" dirty="0">
                <a:solidFill>
                  <a:schemeClr val="bg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INTRODUCTION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619500" y="2269970"/>
            <a:ext cx="4953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4848"/>
              </a:buClr>
              <a:defRPr/>
            </a:pPr>
            <a:r>
              <a:rPr lang="fr-FR" sz="14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un site web, une application desktop et une application mobile</a:t>
            </a:r>
            <a:r>
              <a:rPr lang="en-US" sz="1400" noProof="1">
                <a:solidFill>
                  <a:schemeClr val="bg1">
                    <a:lumMod val="95000"/>
                  </a:schemeClr>
                </a:solidFill>
                <a:latin typeface="Titillium Lt" panose="00000400000000000000" pitchFamily="50" charset="0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</p:txBody>
      </p:sp>
      <p:sp>
        <p:nvSpPr>
          <p:cNvPr id="18" name="Freeform 245"/>
          <p:cNvSpPr>
            <a:spLocks noEditPoints="1"/>
          </p:cNvSpPr>
          <p:nvPr/>
        </p:nvSpPr>
        <p:spPr bwMode="auto">
          <a:xfrm>
            <a:off x="5783895" y="451313"/>
            <a:ext cx="624211" cy="707868"/>
          </a:xfrm>
          <a:custGeom>
            <a:avLst/>
            <a:gdLst>
              <a:gd name="T0" fmla="*/ 666 w 777"/>
              <a:gd name="T1" fmla="*/ 681 h 882"/>
              <a:gd name="T2" fmla="*/ 549 w 777"/>
              <a:gd name="T3" fmla="*/ 574 h 882"/>
              <a:gd name="T4" fmla="*/ 707 w 777"/>
              <a:gd name="T5" fmla="*/ 537 h 882"/>
              <a:gd name="T6" fmla="*/ 739 w 777"/>
              <a:gd name="T7" fmla="*/ 644 h 882"/>
              <a:gd name="T8" fmla="*/ 322 w 777"/>
              <a:gd name="T9" fmla="*/ 805 h 882"/>
              <a:gd name="T10" fmla="*/ 330 w 777"/>
              <a:gd name="T11" fmla="*/ 668 h 882"/>
              <a:gd name="T12" fmla="*/ 468 w 777"/>
              <a:gd name="T13" fmla="*/ 752 h 882"/>
              <a:gd name="T14" fmla="*/ 397 w 777"/>
              <a:gd name="T15" fmla="*/ 844 h 882"/>
              <a:gd name="T16" fmla="*/ 53 w 777"/>
              <a:gd name="T17" fmla="*/ 664 h 882"/>
              <a:gd name="T18" fmla="*/ 45 w 777"/>
              <a:gd name="T19" fmla="*/ 587 h 882"/>
              <a:gd name="T20" fmla="*/ 148 w 777"/>
              <a:gd name="T21" fmla="*/ 482 h 882"/>
              <a:gd name="T22" fmla="*/ 147 w 777"/>
              <a:gd name="T23" fmla="*/ 681 h 882"/>
              <a:gd name="T24" fmla="*/ 101 w 777"/>
              <a:gd name="T25" fmla="*/ 202 h 882"/>
              <a:gd name="T26" fmla="*/ 209 w 777"/>
              <a:gd name="T27" fmla="*/ 350 h 882"/>
              <a:gd name="T28" fmla="*/ 60 w 777"/>
              <a:gd name="T29" fmla="*/ 328 h 882"/>
              <a:gd name="T30" fmla="*/ 43 w 777"/>
              <a:gd name="T31" fmla="*/ 230 h 882"/>
              <a:gd name="T32" fmla="*/ 449 w 777"/>
              <a:gd name="T33" fmla="*/ 90 h 882"/>
              <a:gd name="T34" fmla="*/ 415 w 777"/>
              <a:gd name="T35" fmla="*/ 228 h 882"/>
              <a:gd name="T36" fmla="*/ 302 w 777"/>
              <a:gd name="T37" fmla="*/ 113 h 882"/>
              <a:gd name="T38" fmla="*/ 374 w 777"/>
              <a:gd name="T39" fmla="*/ 36 h 882"/>
              <a:gd name="T40" fmla="*/ 556 w 777"/>
              <a:gd name="T41" fmla="*/ 497 h 882"/>
              <a:gd name="T42" fmla="*/ 446 w 777"/>
              <a:gd name="T43" fmla="*/ 253 h 882"/>
              <a:gd name="T44" fmla="*/ 489 w 777"/>
              <a:gd name="T45" fmla="*/ 296 h 882"/>
              <a:gd name="T46" fmla="*/ 263 w 777"/>
              <a:gd name="T47" fmla="*/ 227 h 882"/>
              <a:gd name="T48" fmla="*/ 272 w 777"/>
              <a:gd name="T49" fmla="*/ 307 h 882"/>
              <a:gd name="T50" fmla="*/ 193 w 777"/>
              <a:gd name="T51" fmla="*/ 409 h 882"/>
              <a:gd name="T52" fmla="*/ 349 w 777"/>
              <a:gd name="T53" fmla="*/ 620 h 882"/>
              <a:gd name="T54" fmla="*/ 273 w 777"/>
              <a:gd name="T55" fmla="*/ 575 h 882"/>
              <a:gd name="T56" fmla="*/ 505 w 777"/>
              <a:gd name="T57" fmla="*/ 631 h 882"/>
              <a:gd name="T58" fmla="*/ 489 w 777"/>
              <a:gd name="T59" fmla="*/ 586 h 882"/>
              <a:gd name="T60" fmla="*/ 353 w 777"/>
              <a:gd name="T61" fmla="*/ 583 h 882"/>
              <a:gd name="T62" fmla="*/ 241 w 777"/>
              <a:gd name="T63" fmla="*/ 441 h 882"/>
              <a:gd name="T64" fmla="*/ 353 w 777"/>
              <a:gd name="T65" fmla="*/ 300 h 882"/>
              <a:gd name="T66" fmla="*/ 519 w 777"/>
              <a:gd name="T67" fmla="*/ 358 h 882"/>
              <a:gd name="T68" fmla="*/ 491 w 777"/>
              <a:gd name="T69" fmla="*/ 543 h 882"/>
              <a:gd name="T70" fmla="*/ 725 w 777"/>
              <a:gd name="T71" fmla="*/ 219 h 882"/>
              <a:gd name="T72" fmla="*/ 734 w 777"/>
              <a:gd name="T73" fmla="*/ 295 h 882"/>
              <a:gd name="T74" fmla="*/ 626 w 777"/>
              <a:gd name="T75" fmla="*/ 397 h 882"/>
              <a:gd name="T76" fmla="*/ 613 w 777"/>
              <a:gd name="T77" fmla="*/ 203 h 882"/>
              <a:gd name="T78" fmla="*/ 749 w 777"/>
              <a:gd name="T79" fmla="*/ 344 h 882"/>
              <a:gd name="T80" fmla="*/ 766 w 777"/>
              <a:gd name="T81" fmla="*/ 212 h 882"/>
              <a:gd name="T82" fmla="*/ 679 w 777"/>
              <a:gd name="T83" fmla="*/ 167 h 882"/>
              <a:gd name="T84" fmla="*/ 512 w 777"/>
              <a:gd name="T85" fmla="*/ 146 h 882"/>
              <a:gd name="T86" fmla="*/ 425 w 777"/>
              <a:gd name="T87" fmla="*/ 13 h 882"/>
              <a:gd name="T88" fmla="*/ 318 w 777"/>
              <a:gd name="T89" fmla="*/ 29 h 882"/>
              <a:gd name="T90" fmla="*/ 238 w 777"/>
              <a:gd name="T91" fmla="*/ 183 h 882"/>
              <a:gd name="T92" fmla="*/ 62 w 777"/>
              <a:gd name="T93" fmla="*/ 174 h 882"/>
              <a:gd name="T94" fmla="*/ 0 w 777"/>
              <a:gd name="T95" fmla="*/ 248 h 882"/>
              <a:gd name="T96" fmla="*/ 41 w 777"/>
              <a:gd name="T97" fmla="*/ 365 h 882"/>
              <a:gd name="T98" fmla="*/ 49 w 777"/>
              <a:gd name="T99" fmla="*/ 507 h 882"/>
              <a:gd name="T100" fmla="*/ 4 w 777"/>
              <a:gd name="T101" fmla="*/ 648 h 882"/>
              <a:gd name="T102" fmla="*/ 79 w 777"/>
              <a:gd name="T103" fmla="*/ 712 h 882"/>
              <a:gd name="T104" fmla="*/ 251 w 777"/>
              <a:gd name="T105" fmla="*/ 739 h 882"/>
              <a:gd name="T106" fmla="*/ 338 w 777"/>
              <a:gd name="T107" fmla="*/ 869 h 882"/>
              <a:gd name="T108" fmla="*/ 445 w 777"/>
              <a:gd name="T109" fmla="*/ 853 h 882"/>
              <a:gd name="T110" fmla="*/ 525 w 777"/>
              <a:gd name="T111" fmla="*/ 695 h 882"/>
              <a:gd name="T112" fmla="*/ 699 w 777"/>
              <a:gd name="T113" fmla="*/ 712 h 882"/>
              <a:gd name="T114" fmla="*/ 775 w 777"/>
              <a:gd name="T115" fmla="*/ 648 h 882"/>
              <a:gd name="T116" fmla="*/ 728 w 777"/>
              <a:gd name="T117" fmla="*/ 507 h 8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777" h="882">
                <a:moveTo>
                  <a:pt x="736" y="652"/>
                </a:moveTo>
                <a:lnTo>
                  <a:pt x="733" y="656"/>
                </a:lnTo>
                <a:lnTo>
                  <a:pt x="729" y="660"/>
                </a:lnTo>
                <a:lnTo>
                  <a:pt x="725" y="664"/>
                </a:lnTo>
                <a:lnTo>
                  <a:pt x="721" y="667"/>
                </a:lnTo>
                <a:lnTo>
                  <a:pt x="711" y="672"/>
                </a:lnTo>
                <a:lnTo>
                  <a:pt x="700" y="675"/>
                </a:lnTo>
                <a:lnTo>
                  <a:pt x="688" y="679"/>
                </a:lnTo>
                <a:lnTo>
                  <a:pt x="678" y="680"/>
                </a:lnTo>
                <a:lnTo>
                  <a:pt x="666" y="681"/>
                </a:lnTo>
                <a:lnTo>
                  <a:pt x="655" y="682"/>
                </a:lnTo>
                <a:lnTo>
                  <a:pt x="641" y="681"/>
                </a:lnTo>
                <a:lnTo>
                  <a:pt x="628" y="680"/>
                </a:lnTo>
                <a:lnTo>
                  <a:pt x="613" y="679"/>
                </a:lnTo>
                <a:lnTo>
                  <a:pt x="598" y="677"/>
                </a:lnTo>
                <a:lnTo>
                  <a:pt x="567" y="670"/>
                </a:lnTo>
                <a:lnTo>
                  <a:pt x="534" y="660"/>
                </a:lnTo>
                <a:lnTo>
                  <a:pt x="539" y="633"/>
                </a:lnTo>
                <a:lnTo>
                  <a:pt x="545" y="604"/>
                </a:lnTo>
                <a:lnTo>
                  <a:pt x="549" y="574"/>
                </a:lnTo>
                <a:lnTo>
                  <a:pt x="552" y="544"/>
                </a:lnTo>
                <a:lnTo>
                  <a:pt x="578" y="524"/>
                </a:lnTo>
                <a:lnTo>
                  <a:pt x="603" y="505"/>
                </a:lnTo>
                <a:lnTo>
                  <a:pt x="626" y="485"/>
                </a:lnTo>
                <a:lnTo>
                  <a:pt x="647" y="466"/>
                </a:lnTo>
                <a:lnTo>
                  <a:pt x="661" y="480"/>
                </a:lnTo>
                <a:lnTo>
                  <a:pt x="674" y="495"/>
                </a:lnTo>
                <a:lnTo>
                  <a:pt x="686" y="509"/>
                </a:lnTo>
                <a:lnTo>
                  <a:pt x="697" y="523"/>
                </a:lnTo>
                <a:lnTo>
                  <a:pt x="707" y="537"/>
                </a:lnTo>
                <a:lnTo>
                  <a:pt x="715" y="550"/>
                </a:lnTo>
                <a:lnTo>
                  <a:pt x="722" y="563"/>
                </a:lnTo>
                <a:lnTo>
                  <a:pt x="728" y="575"/>
                </a:lnTo>
                <a:lnTo>
                  <a:pt x="734" y="587"/>
                </a:lnTo>
                <a:lnTo>
                  <a:pt x="737" y="598"/>
                </a:lnTo>
                <a:lnTo>
                  <a:pt x="740" y="608"/>
                </a:lnTo>
                <a:lnTo>
                  <a:pt x="741" y="619"/>
                </a:lnTo>
                <a:lnTo>
                  <a:pt x="742" y="628"/>
                </a:lnTo>
                <a:lnTo>
                  <a:pt x="741" y="637"/>
                </a:lnTo>
                <a:lnTo>
                  <a:pt x="739" y="644"/>
                </a:lnTo>
                <a:lnTo>
                  <a:pt x="736" y="652"/>
                </a:lnTo>
                <a:close/>
                <a:moveTo>
                  <a:pt x="382" y="847"/>
                </a:moveTo>
                <a:lnTo>
                  <a:pt x="374" y="846"/>
                </a:lnTo>
                <a:lnTo>
                  <a:pt x="367" y="844"/>
                </a:lnTo>
                <a:lnTo>
                  <a:pt x="359" y="841"/>
                </a:lnTo>
                <a:lnTo>
                  <a:pt x="351" y="835"/>
                </a:lnTo>
                <a:lnTo>
                  <a:pt x="344" y="830"/>
                </a:lnTo>
                <a:lnTo>
                  <a:pt x="336" y="822"/>
                </a:lnTo>
                <a:lnTo>
                  <a:pt x="329" y="815"/>
                </a:lnTo>
                <a:lnTo>
                  <a:pt x="322" y="805"/>
                </a:lnTo>
                <a:lnTo>
                  <a:pt x="315" y="794"/>
                </a:lnTo>
                <a:lnTo>
                  <a:pt x="308" y="782"/>
                </a:lnTo>
                <a:lnTo>
                  <a:pt x="302" y="769"/>
                </a:lnTo>
                <a:lnTo>
                  <a:pt x="295" y="755"/>
                </a:lnTo>
                <a:lnTo>
                  <a:pt x="289" y="740"/>
                </a:lnTo>
                <a:lnTo>
                  <a:pt x="283" y="724"/>
                </a:lnTo>
                <a:lnTo>
                  <a:pt x="277" y="707"/>
                </a:lnTo>
                <a:lnTo>
                  <a:pt x="272" y="689"/>
                </a:lnTo>
                <a:lnTo>
                  <a:pt x="301" y="679"/>
                </a:lnTo>
                <a:lnTo>
                  <a:pt x="330" y="668"/>
                </a:lnTo>
                <a:lnTo>
                  <a:pt x="359" y="655"/>
                </a:lnTo>
                <a:lnTo>
                  <a:pt x="389" y="641"/>
                </a:lnTo>
                <a:lnTo>
                  <a:pt x="415" y="654"/>
                </a:lnTo>
                <a:lnTo>
                  <a:pt x="441" y="665"/>
                </a:lnTo>
                <a:lnTo>
                  <a:pt x="467" y="675"/>
                </a:lnTo>
                <a:lnTo>
                  <a:pt x="492" y="684"/>
                </a:lnTo>
                <a:lnTo>
                  <a:pt x="486" y="702"/>
                </a:lnTo>
                <a:lnTo>
                  <a:pt x="481" y="721"/>
                </a:lnTo>
                <a:lnTo>
                  <a:pt x="475" y="737"/>
                </a:lnTo>
                <a:lnTo>
                  <a:pt x="468" y="752"/>
                </a:lnTo>
                <a:lnTo>
                  <a:pt x="462" y="767"/>
                </a:lnTo>
                <a:lnTo>
                  <a:pt x="455" y="780"/>
                </a:lnTo>
                <a:lnTo>
                  <a:pt x="449" y="792"/>
                </a:lnTo>
                <a:lnTo>
                  <a:pt x="441" y="803"/>
                </a:lnTo>
                <a:lnTo>
                  <a:pt x="434" y="814"/>
                </a:lnTo>
                <a:lnTo>
                  <a:pt x="427" y="822"/>
                </a:lnTo>
                <a:lnTo>
                  <a:pt x="419" y="829"/>
                </a:lnTo>
                <a:lnTo>
                  <a:pt x="412" y="835"/>
                </a:lnTo>
                <a:lnTo>
                  <a:pt x="404" y="841"/>
                </a:lnTo>
                <a:lnTo>
                  <a:pt x="397" y="844"/>
                </a:lnTo>
                <a:lnTo>
                  <a:pt x="389" y="846"/>
                </a:lnTo>
                <a:lnTo>
                  <a:pt x="382" y="847"/>
                </a:lnTo>
                <a:close/>
                <a:moveTo>
                  <a:pt x="124" y="682"/>
                </a:moveTo>
                <a:lnTo>
                  <a:pt x="113" y="681"/>
                </a:lnTo>
                <a:lnTo>
                  <a:pt x="101" y="680"/>
                </a:lnTo>
                <a:lnTo>
                  <a:pt x="89" y="679"/>
                </a:lnTo>
                <a:lnTo>
                  <a:pt x="78" y="675"/>
                </a:lnTo>
                <a:lnTo>
                  <a:pt x="67" y="672"/>
                </a:lnTo>
                <a:lnTo>
                  <a:pt x="58" y="667"/>
                </a:lnTo>
                <a:lnTo>
                  <a:pt x="53" y="664"/>
                </a:lnTo>
                <a:lnTo>
                  <a:pt x="49" y="660"/>
                </a:lnTo>
                <a:lnTo>
                  <a:pt x="46" y="656"/>
                </a:lnTo>
                <a:lnTo>
                  <a:pt x="43" y="652"/>
                </a:lnTo>
                <a:lnTo>
                  <a:pt x="39" y="644"/>
                </a:lnTo>
                <a:lnTo>
                  <a:pt x="37" y="637"/>
                </a:lnTo>
                <a:lnTo>
                  <a:pt x="36" y="628"/>
                </a:lnTo>
                <a:lnTo>
                  <a:pt x="36" y="619"/>
                </a:lnTo>
                <a:lnTo>
                  <a:pt x="37" y="608"/>
                </a:lnTo>
                <a:lnTo>
                  <a:pt x="40" y="598"/>
                </a:lnTo>
                <a:lnTo>
                  <a:pt x="45" y="587"/>
                </a:lnTo>
                <a:lnTo>
                  <a:pt x="49" y="575"/>
                </a:lnTo>
                <a:lnTo>
                  <a:pt x="55" y="563"/>
                </a:lnTo>
                <a:lnTo>
                  <a:pt x="63" y="550"/>
                </a:lnTo>
                <a:lnTo>
                  <a:pt x="72" y="537"/>
                </a:lnTo>
                <a:lnTo>
                  <a:pt x="81" y="523"/>
                </a:lnTo>
                <a:lnTo>
                  <a:pt x="91" y="509"/>
                </a:lnTo>
                <a:lnTo>
                  <a:pt x="103" y="495"/>
                </a:lnTo>
                <a:lnTo>
                  <a:pt x="116" y="480"/>
                </a:lnTo>
                <a:lnTo>
                  <a:pt x="130" y="466"/>
                </a:lnTo>
                <a:lnTo>
                  <a:pt x="148" y="482"/>
                </a:lnTo>
                <a:lnTo>
                  <a:pt x="168" y="498"/>
                </a:lnTo>
                <a:lnTo>
                  <a:pt x="188" y="516"/>
                </a:lnTo>
                <a:lnTo>
                  <a:pt x="209" y="531"/>
                </a:lnTo>
                <a:lnTo>
                  <a:pt x="212" y="566"/>
                </a:lnTo>
                <a:lnTo>
                  <a:pt x="218" y="601"/>
                </a:lnTo>
                <a:lnTo>
                  <a:pt x="223" y="633"/>
                </a:lnTo>
                <a:lnTo>
                  <a:pt x="229" y="665"/>
                </a:lnTo>
                <a:lnTo>
                  <a:pt x="200" y="672"/>
                </a:lnTo>
                <a:lnTo>
                  <a:pt x="173" y="678"/>
                </a:lnTo>
                <a:lnTo>
                  <a:pt x="147" y="681"/>
                </a:lnTo>
                <a:lnTo>
                  <a:pt x="124" y="682"/>
                </a:lnTo>
                <a:close/>
                <a:moveTo>
                  <a:pt x="43" y="230"/>
                </a:moveTo>
                <a:lnTo>
                  <a:pt x="46" y="226"/>
                </a:lnTo>
                <a:lnTo>
                  <a:pt x="49" y="222"/>
                </a:lnTo>
                <a:lnTo>
                  <a:pt x="53" y="219"/>
                </a:lnTo>
                <a:lnTo>
                  <a:pt x="58" y="215"/>
                </a:lnTo>
                <a:lnTo>
                  <a:pt x="67" y="210"/>
                </a:lnTo>
                <a:lnTo>
                  <a:pt x="78" y="207"/>
                </a:lnTo>
                <a:lnTo>
                  <a:pt x="89" y="203"/>
                </a:lnTo>
                <a:lnTo>
                  <a:pt x="101" y="202"/>
                </a:lnTo>
                <a:lnTo>
                  <a:pt x="113" y="201"/>
                </a:lnTo>
                <a:lnTo>
                  <a:pt x="124" y="200"/>
                </a:lnTo>
                <a:lnTo>
                  <a:pt x="147" y="201"/>
                </a:lnTo>
                <a:lnTo>
                  <a:pt x="173" y="205"/>
                </a:lnTo>
                <a:lnTo>
                  <a:pt x="200" y="210"/>
                </a:lnTo>
                <a:lnTo>
                  <a:pt x="229" y="218"/>
                </a:lnTo>
                <a:lnTo>
                  <a:pt x="223" y="249"/>
                </a:lnTo>
                <a:lnTo>
                  <a:pt x="218" y="281"/>
                </a:lnTo>
                <a:lnTo>
                  <a:pt x="212" y="316"/>
                </a:lnTo>
                <a:lnTo>
                  <a:pt x="209" y="350"/>
                </a:lnTo>
                <a:lnTo>
                  <a:pt x="188" y="367"/>
                </a:lnTo>
                <a:lnTo>
                  <a:pt x="168" y="384"/>
                </a:lnTo>
                <a:lnTo>
                  <a:pt x="148" y="400"/>
                </a:lnTo>
                <a:lnTo>
                  <a:pt x="130" y="416"/>
                </a:lnTo>
                <a:lnTo>
                  <a:pt x="119" y="405"/>
                </a:lnTo>
                <a:lnTo>
                  <a:pt x="108" y="394"/>
                </a:lnTo>
                <a:lnTo>
                  <a:pt x="99" y="382"/>
                </a:lnTo>
                <a:lnTo>
                  <a:pt x="89" y="370"/>
                </a:lnTo>
                <a:lnTo>
                  <a:pt x="73" y="348"/>
                </a:lnTo>
                <a:lnTo>
                  <a:pt x="60" y="328"/>
                </a:lnTo>
                <a:lnTo>
                  <a:pt x="49" y="307"/>
                </a:lnTo>
                <a:lnTo>
                  <a:pt x="41" y="289"/>
                </a:lnTo>
                <a:lnTo>
                  <a:pt x="39" y="280"/>
                </a:lnTo>
                <a:lnTo>
                  <a:pt x="37" y="272"/>
                </a:lnTo>
                <a:lnTo>
                  <a:pt x="36" y="264"/>
                </a:lnTo>
                <a:lnTo>
                  <a:pt x="36" y="256"/>
                </a:lnTo>
                <a:lnTo>
                  <a:pt x="36" y="249"/>
                </a:lnTo>
                <a:lnTo>
                  <a:pt x="37" y="242"/>
                </a:lnTo>
                <a:lnTo>
                  <a:pt x="39" y="236"/>
                </a:lnTo>
                <a:lnTo>
                  <a:pt x="43" y="230"/>
                </a:lnTo>
                <a:close/>
                <a:moveTo>
                  <a:pt x="382" y="35"/>
                </a:moveTo>
                <a:lnTo>
                  <a:pt x="389" y="36"/>
                </a:lnTo>
                <a:lnTo>
                  <a:pt x="397" y="38"/>
                </a:lnTo>
                <a:lnTo>
                  <a:pt x="404" y="41"/>
                </a:lnTo>
                <a:lnTo>
                  <a:pt x="412" y="47"/>
                </a:lnTo>
                <a:lnTo>
                  <a:pt x="419" y="52"/>
                </a:lnTo>
                <a:lnTo>
                  <a:pt x="427" y="60"/>
                </a:lnTo>
                <a:lnTo>
                  <a:pt x="434" y="68"/>
                </a:lnTo>
                <a:lnTo>
                  <a:pt x="441" y="79"/>
                </a:lnTo>
                <a:lnTo>
                  <a:pt x="449" y="90"/>
                </a:lnTo>
                <a:lnTo>
                  <a:pt x="455" y="102"/>
                </a:lnTo>
                <a:lnTo>
                  <a:pt x="462" y="115"/>
                </a:lnTo>
                <a:lnTo>
                  <a:pt x="468" y="130"/>
                </a:lnTo>
                <a:lnTo>
                  <a:pt x="475" y="145"/>
                </a:lnTo>
                <a:lnTo>
                  <a:pt x="481" y="161"/>
                </a:lnTo>
                <a:lnTo>
                  <a:pt x="486" y="180"/>
                </a:lnTo>
                <a:lnTo>
                  <a:pt x="492" y="198"/>
                </a:lnTo>
                <a:lnTo>
                  <a:pt x="467" y="207"/>
                </a:lnTo>
                <a:lnTo>
                  <a:pt x="441" y="218"/>
                </a:lnTo>
                <a:lnTo>
                  <a:pt x="415" y="228"/>
                </a:lnTo>
                <a:lnTo>
                  <a:pt x="389" y="241"/>
                </a:lnTo>
                <a:lnTo>
                  <a:pt x="359" y="227"/>
                </a:lnTo>
                <a:lnTo>
                  <a:pt x="330" y="214"/>
                </a:lnTo>
                <a:lnTo>
                  <a:pt x="301" y="203"/>
                </a:lnTo>
                <a:lnTo>
                  <a:pt x="272" y="193"/>
                </a:lnTo>
                <a:lnTo>
                  <a:pt x="277" y="175"/>
                </a:lnTo>
                <a:lnTo>
                  <a:pt x="283" y="158"/>
                </a:lnTo>
                <a:lnTo>
                  <a:pt x="289" y="142"/>
                </a:lnTo>
                <a:lnTo>
                  <a:pt x="295" y="127"/>
                </a:lnTo>
                <a:lnTo>
                  <a:pt x="302" y="113"/>
                </a:lnTo>
                <a:lnTo>
                  <a:pt x="308" y="100"/>
                </a:lnTo>
                <a:lnTo>
                  <a:pt x="315" y="88"/>
                </a:lnTo>
                <a:lnTo>
                  <a:pt x="322" y="77"/>
                </a:lnTo>
                <a:lnTo>
                  <a:pt x="329" y="67"/>
                </a:lnTo>
                <a:lnTo>
                  <a:pt x="336" y="60"/>
                </a:lnTo>
                <a:lnTo>
                  <a:pt x="344" y="52"/>
                </a:lnTo>
                <a:lnTo>
                  <a:pt x="351" y="46"/>
                </a:lnTo>
                <a:lnTo>
                  <a:pt x="359" y="41"/>
                </a:lnTo>
                <a:lnTo>
                  <a:pt x="367" y="38"/>
                </a:lnTo>
                <a:lnTo>
                  <a:pt x="374" y="36"/>
                </a:lnTo>
                <a:lnTo>
                  <a:pt x="382" y="35"/>
                </a:lnTo>
                <a:close/>
                <a:moveTo>
                  <a:pt x="556" y="385"/>
                </a:moveTo>
                <a:lnTo>
                  <a:pt x="574" y="399"/>
                </a:lnTo>
                <a:lnTo>
                  <a:pt x="590" y="413"/>
                </a:lnTo>
                <a:lnTo>
                  <a:pt x="607" y="427"/>
                </a:lnTo>
                <a:lnTo>
                  <a:pt x="623" y="441"/>
                </a:lnTo>
                <a:lnTo>
                  <a:pt x="607" y="455"/>
                </a:lnTo>
                <a:lnTo>
                  <a:pt x="590" y="469"/>
                </a:lnTo>
                <a:lnTo>
                  <a:pt x="574" y="483"/>
                </a:lnTo>
                <a:lnTo>
                  <a:pt x="556" y="497"/>
                </a:lnTo>
                <a:lnTo>
                  <a:pt x="556" y="483"/>
                </a:lnTo>
                <a:lnTo>
                  <a:pt x="557" y="469"/>
                </a:lnTo>
                <a:lnTo>
                  <a:pt x="557" y="455"/>
                </a:lnTo>
                <a:lnTo>
                  <a:pt x="557" y="441"/>
                </a:lnTo>
                <a:lnTo>
                  <a:pt x="557" y="427"/>
                </a:lnTo>
                <a:lnTo>
                  <a:pt x="557" y="413"/>
                </a:lnTo>
                <a:lnTo>
                  <a:pt x="556" y="399"/>
                </a:lnTo>
                <a:lnTo>
                  <a:pt x="556" y="385"/>
                </a:lnTo>
                <a:close/>
                <a:moveTo>
                  <a:pt x="428" y="262"/>
                </a:moveTo>
                <a:lnTo>
                  <a:pt x="446" y="253"/>
                </a:lnTo>
                <a:lnTo>
                  <a:pt x="465" y="246"/>
                </a:lnTo>
                <a:lnTo>
                  <a:pt x="483" y="239"/>
                </a:lnTo>
                <a:lnTo>
                  <a:pt x="500" y="233"/>
                </a:lnTo>
                <a:lnTo>
                  <a:pt x="505" y="251"/>
                </a:lnTo>
                <a:lnTo>
                  <a:pt x="508" y="272"/>
                </a:lnTo>
                <a:lnTo>
                  <a:pt x="511" y="291"/>
                </a:lnTo>
                <a:lnTo>
                  <a:pt x="513" y="313"/>
                </a:lnTo>
                <a:lnTo>
                  <a:pt x="506" y="307"/>
                </a:lnTo>
                <a:lnTo>
                  <a:pt x="497" y="302"/>
                </a:lnTo>
                <a:lnTo>
                  <a:pt x="489" y="296"/>
                </a:lnTo>
                <a:lnTo>
                  <a:pt x="480" y="291"/>
                </a:lnTo>
                <a:lnTo>
                  <a:pt x="467" y="283"/>
                </a:lnTo>
                <a:lnTo>
                  <a:pt x="454" y="276"/>
                </a:lnTo>
                <a:lnTo>
                  <a:pt x="441" y="268"/>
                </a:lnTo>
                <a:lnTo>
                  <a:pt x="428" y="262"/>
                </a:lnTo>
                <a:close/>
                <a:moveTo>
                  <a:pt x="247" y="323"/>
                </a:moveTo>
                <a:lnTo>
                  <a:pt x="250" y="299"/>
                </a:lnTo>
                <a:lnTo>
                  <a:pt x="254" y="274"/>
                </a:lnTo>
                <a:lnTo>
                  <a:pt x="259" y="250"/>
                </a:lnTo>
                <a:lnTo>
                  <a:pt x="263" y="227"/>
                </a:lnTo>
                <a:lnTo>
                  <a:pt x="284" y="235"/>
                </a:lnTo>
                <a:lnTo>
                  <a:pt x="306" y="243"/>
                </a:lnTo>
                <a:lnTo>
                  <a:pt x="328" y="252"/>
                </a:lnTo>
                <a:lnTo>
                  <a:pt x="349" y="262"/>
                </a:lnTo>
                <a:lnTo>
                  <a:pt x="336" y="268"/>
                </a:lnTo>
                <a:lnTo>
                  <a:pt x="323" y="276"/>
                </a:lnTo>
                <a:lnTo>
                  <a:pt x="310" y="283"/>
                </a:lnTo>
                <a:lnTo>
                  <a:pt x="297" y="291"/>
                </a:lnTo>
                <a:lnTo>
                  <a:pt x="284" y="299"/>
                </a:lnTo>
                <a:lnTo>
                  <a:pt x="272" y="307"/>
                </a:lnTo>
                <a:lnTo>
                  <a:pt x="260" y="315"/>
                </a:lnTo>
                <a:lnTo>
                  <a:pt x="247" y="323"/>
                </a:lnTo>
                <a:close/>
                <a:moveTo>
                  <a:pt x="207" y="484"/>
                </a:moveTo>
                <a:lnTo>
                  <a:pt x="193" y="473"/>
                </a:lnTo>
                <a:lnTo>
                  <a:pt x="180" y="463"/>
                </a:lnTo>
                <a:lnTo>
                  <a:pt x="168" y="452"/>
                </a:lnTo>
                <a:lnTo>
                  <a:pt x="155" y="441"/>
                </a:lnTo>
                <a:lnTo>
                  <a:pt x="168" y="430"/>
                </a:lnTo>
                <a:lnTo>
                  <a:pt x="180" y="419"/>
                </a:lnTo>
                <a:lnTo>
                  <a:pt x="193" y="409"/>
                </a:lnTo>
                <a:lnTo>
                  <a:pt x="207" y="398"/>
                </a:lnTo>
                <a:lnTo>
                  <a:pt x="206" y="409"/>
                </a:lnTo>
                <a:lnTo>
                  <a:pt x="206" y="419"/>
                </a:lnTo>
                <a:lnTo>
                  <a:pt x="206" y="430"/>
                </a:lnTo>
                <a:lnTo>
                  <a:pt x="206" y="441"/>
                </a:lnTo>
                <a:lnTo>
                  <a:pt x="206" y="452"/>
                </a:lnTo>
                <a:lnTo>
                  <a:pt x="206" y="463"/>
                </a:lnTo>
                <a:lnTo>
                  <a:pt x="206" y="473"/>
                </a:lnTo>
                <a:lnTo>
                  <a:pt x="207" y="484"/>
                </a:lnTo>
                <a:close/>
                <a:moveTo>
                  <a:pt x="349" y="620"/>
                </a:moveTo>
                <a:lnTo>
                  <a:pt x="328" y="630"/>
                </a:lnTo>
                <a:lnTo>
                  <a:pt x="306" y="639"/>
                </a:lnTo>
                <a:lnTo>
                  <a:pt x="284" y="647"/>
                </a:lnTo>
                <a:lnTo>
                  <a:pt x="263" y="655"/>
                </a:lnTo>
                <a:lnTo>
                  <a:pt x="259" y="632"/>
                </a:lnTo>
                <a:lnTo>
                  <a:pt x="254" y="608"/>
                </a:lnTo>
                <a:lnTo>
                  <a:pt x="250" y="584"/>
                </a:lnTo>
                <a:lnTo>
                  <a:pt x="247" y="559"/>
                </a:lnTo>
                <a:lnTo>
                  <a:pt x="260" y="566"/>
                </a:lnTo>
                <a:lnTo>
                  <a:pt x="273" y="575"/>
                </a:lnTo>
                <a:lnTo>
                  <a:pt x="284" y="584"/>
                </a:lnTo>
                <a:lnTo>
                  <a:pt x="297" y="591"/>
                </a:lnTo>
                <a:lnTo>
                  <a:pt x="310" y="599"/>
                </a:lnTo>
                <a:lnTo>
                  <a:pt x="323" y="606"/>
                </a:lnTo>
                <a:lnTo>
                  <a:pt x="336" y="614"/>
                </a:lnTo>
                <a:lnTo>
                  <a:pt x="349" y="620"/>
                </a:lnTo>
                <a:close/>
                <a:moveTo>
                  <a:pt x="513" y="570"/>
                </a:moveTo>
                <a:lnTo>
                  <a:pt x="511" y="591"/>
                </a:lnTo>
                <a:lnTo>
                  <a:pt x="508" y="611"/>
                </a:lnTo>
                <a:lnTo>
                  <a:pt x="505" y="631"/>
                </a:lnTo>
                <a:lnTo>
                  <a:pt x="500" y="650"/>
                </a:lnTo>
                <a:lnTo>
                  <a:pt x="483" y="643"/>
                </a:lnTo>
                <a:lnTo>
                  <a:pt x="465" y="637"/>
                </a:lnTo>
                <a:lnTo>
                  <a:pt x="446" y="629"/>
                </a:lnTo>
                <a:lnTo>
                  <a:pt x="428" y="620"/>
                </a:lnTo>
                <a:lnTo>
                  <a:pt x="441" y="614"/>
                </a:lnTo>
                <a:lnTo>
                  <a:pt x="454" y="606"/>
                </a:lnTo>
                <a:lnTo>
                  <a:pt x="467" y="599"/>
                </a:lnTo>
                <a:lnTo>
                  <a:pt x="480" y="591"/>
                </a:lnTo>
                <a:lnTo>
                  <a:pt x="489" y="586"/>
                </a:lnTo>
                <a:lnTo>
                  <a:pt x="497" y="580"/>
                </a:lnTo>
                <a:lnTo>
                  <a:pt x="506" y="575"/>
                </a:lnTo>
                <a:lnTo>
                  <a:pt x="513" y="570"/>
                </a:lnTo>
                <a:close/>
                <a:moveTo>
                  <a:pt x="462" y="561"/>
                </a:moveTo>
                <a:lnTo>
                  <a:pt x="443" y="572"/>
                </a:lnTo>
                <a:lnTo>
                  <a:pt x="426" y="583"/>
                </a:lnTo>
                <a:lnTo>
                  <a:pt x="408" y="592"/>
                </a:lnTo>
                <a:lnTo>
                  <a:pt x="389" y="602"/>
                </a:lnTo>
                <a:lnTo>
                  <a:pt x="371" y="592"/>
                </a:lnTo>
                <a:lnTo>
                  <a:pt x="353" y="583"/>
                </a:lnTo>
                <a:lnTo>
                  <a:pt x="334" y="572"/>
                </a:lnTo>
                <a:lnTo>
                  <a:pt x="316" y="561"/>
                </a:lnTo>
                <a:lnTo>
                  <a:pt x="297" y="549"/>
                </a:lnTo>
                <a:lnTo>
                  <a:pt x="279" y="537"/>
                </a:lnTo>
                <a:lnTo>
                  <a:pt x="261" y="525"/>
                </a:lnTo>
                <a:lnTo>
                  <a:pt x="243" y="512"/>
                </a:lnTo>
                <a:lnTo>
                  <a:pt x="242" y="495"/>
                </a:lnTo>
                <a:lnTo>
                  <a:pt x="241" y="478"/>
                </a:lnTo>
                <a:lnTo>
                  <a:pt x="241" y="459"/>
                </a:lnTo>
                <a:lnTo>
                  <a:pt x="241" y="441"/>
                </a:lnTo>
                <a:lnTo>
                  <a:pt x="241" y="423"/>
                </a:lnTo>
                <a:lnTo>
                  <a:pt x="241" y="404"/>
                </a:lnTo>
                <a:lnTo>
                  <a:pt x="242" y="387"/>
                </a:lnTo>
                <a:lnTo>
                  <a:pt x="243" y="370"/>
                </a:lnTo>
                <a:lnTo>
                  <a:pt x="261" y="357"/>
                </a:lnTo>
                <a:lnTo>
                  <a:pt x="278" y="345"/>
                </a:lnTo>
                <a:lnTo>
                  <a:pt x="297" y="333"/>
                </a:lnTo>
                <a:lnTo>
                  <a:pt x="316" y="321"/>
                </a:lnTo>
                <a:lnTo>
                  <a:pt x="334" y="310"/>
                </a:lnTo>
                <a:lnTo>
                  <a:pt x="353" y="300"/>
                </a:lnTo>
                <a:lnTo>
                  <a:pt x="371" y="290"/>
                </a:lnTo>
                <a:lnTo>
                  <a:pt x="389" y="280"/>
                </a:lnTo>
                <a:lnTo>
                  <a:pt x="408" y="290"/>
                </a:lnTo>
                <a:lnTo>
                  <a:pt x="426" y="300"/>
                </a:lnTo>
                <a:lnTo>
                  <a:pt x="443" y="310"/>
                </a:lnTo>
                <a:lnTo>
                  <a:pt x="462" y="321"/>
                </a:lnTo>
                <a:lnTo>
                  <a:pt x="477" y="330"/>
                </a:lnTo>
                <a:lnTo>
                  <a:pt x="491" y="340"/>
                </a:lnTo>
                <a:lnTo>
                  <a:pt x="505" y="349"/>
                </a:lnTo>
                <a:lnTo>
                  <a:pt x="519" y="358"/>
                </a:lnTo>
                <a:lnTo>
                  <a:pt x="520" y="378"/>
                </a:lnTo>
                <a:lnTo>
                  <a:pt x="521" y="399"/>
                </a:lnTo>
                <a:lnTo>
                  <a:pt x="521" y="419"/>
                </a:lnTo>
                <a:lnTo>
                  <a:pt x="522" y="441"/>
                </a:lnTo>
                <a:lnTo>
                  <a:pt x="521" y="463"/>
                </a:lnTo>
                <a:lnTo>
                  <a:pt x="521" y="483"/>
                </a:lnTo>
                <a:lnTo>
                  <a:pt x="520" y="504"/>
                </a:lnTo>
                <a:lnTo>
                  <a:pt x="519" y="524"/>
                </a:lnTo>
                <a:lnTo>
                  <a:pt x="505" y="533"/>
                </a:lnTo>
                <a:lnTo>
                  <a:pt x="491" y="543"/>
                </a:lnTo>
                <a:lnTo>
                  <a:pt x="477" y="552"/>
                </a:lnTo>
                <a:lnTo>
                  <a:pt x="462" y="561"/>
                </a:lnTo>
                <a:close/>
                <a:moveTo>
                  <a:pt x="655" y="200"/>
                </a:moveTo>
                <a:lnTo>
                  <a:pt x="666" y="201"/>
                </a:lnTo>
                <a:lnTo>
                  <a:pt x="678" y="202"/>
                </a:lnTo>
                <a:lnTo>
                  <a:pt x="688" y="203"/>
                </a:lnTo>
                <a:lnTo>
                  <a:pt x="700" y="207"/>
                </a:lnTo>
                <a:lnTo>
                  <a:pt x="711" y="210"/>
                </a:lnTo>
                <a:lnTo>
                  <a:pt x="721" y="215"/>
                </a:lnTo>
                <a:lnTo>
                  <a:pt x="725" y="219"/>
                </a:lnTo>
                <a:lnTo>
                  <a:pt x="729" y="222"/>
                </a:lnTo>
                <a:lnTo>
                  <a:pt x="733" y="226"/>
                </a:lnTo>
                <a:lnTo>
                  <a:pt x="736" y="230"/>
                </a:lnTo>
                <a:lnTo>
                  <a:pt x="739" y="237"/>
                </a:lnTo>
                <a:lnTo>
                  <a:pt x="741" y="246"/>
                </a:lnTo>
                <a:lnTo>
                  <a:pt x="742" y="254"/>
                </a:lnTo>
                <a:lnTo>
                  <a:pt x="741" y="263"/>
                </a:lnTo>
                <a:lnTo>
                  <a:pt x="740" y="274"/>
                </a:lnTo>
                <a:lnTo>
                  <a:pt x="737" y="284"/>
                </a:lnTo>
                <a:lnTo>
                  <a:pt x="734" y="295"/>
                </a:lnTo>
                <a:lnTo>
                  <a:pt x="728" y="307"/>
                </a:lnTo>
                <a:lnTo>
                  <a:pt x="722" y="319"/>
                </a:lnTo>
                <a:lnTo>
                  <a:pt x="715" y="332"/>
                </a:lnTo>
                <a:lnTo>
                  <a:pt x="707" y="345"/>
                </a:lnTo>
                <a:lnTo>
                  <a:pt x="697" y="359"/>
                </a:lnTo>
                <a:lnTo>
                  <a:pt x="686" y="373"/>
                </a:lnTo>
                <a:lnTo>
                  <a:pt x="674" y="387"/>
                </a:lnTo>
                <a:lnTo>
                  <a:pt x="661" y="402"/>
                </a:lnTo>
                <a:lnTo>
                  <a:pt x="647" y="416"/>
                </a:lnTo>
                <a:lnTo>
                  <a:pt x="626" y="397"/>
                </a:lnTo>
                <a:lnTo>
                  <a:pt x="603" y="377"/>
                </a:lnTo>
                <a:lnTo>
                  <a:pt x="578" y="358"/>
                </a:lnTo>
                <a:lnTo>
                  <a:pt x="552" y="338"/>
                </a:lnTo>
                <a:lnTo>
                  <a:pt x="549" y="307"/>
                </a:lnTo>
                <a:lnTo>
                  <a:pt x="545" y="278"/>
                </a:lnTo>
                <a:lnTo>
                  <a:pt x="539" y="249"/>
                </a:lnTo>
                <a:lnTo>
                  <a:pt x="534" y="222"/>
                </a:lnTo>
                <a:lnTo>
                  <a:pt x="567" y="212"/>
                </a:lnTo>
                <a:lnTo>
                  <a:pt x="598" y="206"/>
                </a:lnTo>
                <a:lnTo>
                  <a:pt x="613" y="203"/>
                </a:lnTo>
                <a:lnTo>
                  <a:pt x="628" y="202"/>
                </a:lnTo>
                <a:lnTo>
                  <a:pt x="641" y="201"/>
                </a:lnTo>
                <a:lnTo>
                  <a:pt x="655" y="200"/>
                </a:lnTo>
                <a:close/>
                <a:moveTo>
                  <a:pt x="673" y="441"/>
                </a:moveTo>
                <a:lnTo>
                  <a:pt x="688" y="425"/>
                </a:lnTo>
                <a:lnTo>
                  <a:pt x="704" y="408"/>
                </a:lnTo>
                <a:lnTo>
                  <a:pt x="716" y="391"/>
                </a:lnTo>
                <a:lnTo>
                  <a:pt x="728" y="375"/>
                </a:lnTo>
                <a:lnTo>
                  <a:pt x="739" y="359"/>
                </a:lnTo>
                <a:lnTo>
                  <a:pt x="749" y="344"/>
                </a:lnTo>
                <a:lnTo>
                  <a:pt x="758" y="329"/>
                </a:lnTo>
                <a:lnTo>
                  <a:pt x="764" y="314"/>
                </a:lnTo>
                <a:lnTo>
                  <a:pt x="769" y="299"/>
                </a:lnTo>
                <a:lnTo>
                  <a:pt x="774" y="284"/>
                </a:lnTo>
                <a:lnTo>
                  <a:pt x="776" y="270"/>
                </a:lnTo>
                <a:lnTo>
                  <a:pt x="777" y="257"/>
                </a:lnTo>
                <a:lnTo>
                  <a:pt x="777" y="246"/>
                </a:lnTo>
                <a:lnTo>
                  <a:pt x="775" y="234"/>
                </a:lnTo>
                <a:lnTo>
                  <a:pt x="770" y="223"/>
                </a:lnTo>
                <a:lnTo>
                  <a:pt x="766" y="212"/>
                </a:lnTo>
                <a:lnTo>
                  <a:pt x="760" y="203"/>
                </a:lnTo>
                <a:lnTo>
                  <a:pt x="752" y="196"/>
                </a:lnTo>
                <a:lnTo>
                  <a:pt x="742" y="188"/>
                </a:lnTo>
                <a:lnTo>
                  <a:pt x="731" y="181"/>
                </a:lnTo>
                <a:lnTo>
                  <a:pt x="724" y="178"/>
                </a:lnTo>
                <a:lnTo>
                  <a:pt x="716" y="174"/>
                </a:lnTo>
                <a:lnTo>
                  <a:pt x="708" y="172"/>
                </a:lnTo>
                <a:lnTo>
                  <a:pt x="699" y="170"/>
                </a:lnTo>
                <a:lnTo>
                  <a:pt x="689" y="168"/>
                </a:lnTo>
                <a:lnTo>
                  <a:pt x="679" y="167"/>
                </a:lnTo>
                <a:lnTo>
                  <a:pt x="667" y="166"/>
                </a:lnTo>
                <a:lnTo>
                  <a:pt x="655" y="166"/>
                </a:lnTo>
                <a:lnTo>
                  <a:pt x="640" y="166"/>
                </a:lnTo>
                <a:lnTo>
                  <a:pt x="625" y="167"/>
                </a:lnTo>
                <a:lnTo>
                  <a:pt x="610" y="169"/>
                </a:lnTo>
                <a:lnTo>
                  <a:pt x="593" y="171"/>
                </a:lnTo>
                <a:lnTo>
                  <a:pt x="560" y="178"/>
                </a:lnTo>
                <a:lnTo>
                  <a:pt x="525" y="187"/>
                </a:lnTo>
                <a:lnTo>
                  <a:pt x="520" y="167"/>
                </a:lnTo>
                <a:lnTo>
                  <a:pt x="512" y="146"/>
                </a:lnTo>
                <a:lnTo>
                  <a:pt x="506" y="128"/>
                </a:lnTo>
                <a:lnTo>
                  <a:pt x="498" y="110"/>
                </a:lnTo>
                <a:lnTo>
                  <a:pt x="491" y="93"/>
                </a:lnTo>
                <a:lnTo>
                  <a:pt x="482" y="78"/>
                </a:lnTo>
                <a:lnTo>
                  <a:pt x="473" y="64"/>
                </a:lnTo>
                <a:lnTo>
                  <a:pt x="464" y="51"/>
                </a:lnTo>
                <a:lnTo>
                  <a:pt x="455" y="39"/>
                </a:lnTo>
                <a:lnTo>
                  <a:pt x="445" y="30"/>
                </a:lnTo>
                <a:lnTo>
                  <a:pt x="435" y="21"/>
                </a:lnTo>
                <a:lnTo>
                  <a:pt x="425" y="13"/>
                </a:lnTo>
                <a:lnTo>
                  <a:pt x="414" y="8"/>
                </a:lnTo>
                <a:lnTo>
                  <a:pt x="403" y="4"/>
                </a:lnTo>
                <a:lnTo>
                  <a:pt x="392" y="2"/>
                </a:lnTo>
                <a:lnTo>
                  <a:pt x="382" y="0"/>
                </a:lnTo>
                <a:lnTo>
                  <a:pt x="370" y="2"/>
                </a:lnTo>
                <a:lnTo>
                  <a:pt x="359" y="4"/>
                </a:lnTo>
                <a:lnTo>
                  <a:pt x="348" y="8"/>
                </a:lnTo>
                <a:lnTo>
                  <a:pt x="338" y="13"/>
                </a:lnTo>
                <a:lnTo>
                  <a:pt x="328" y="20"/>
                </a:lnTo>
                <a:lnTo>
                  <a:pt x="318" y="29"/>
                </a:lnTo>
                <a:lnTo>
                  <a:pt x="308" y="38"/>
                </a:lnTo>
                <a:lnTo>
                  <a:pt x="299" y="50"/>
                </a:lnTo>
                <a:lnTo>
                  <a:pt x="290" y="62"/>
                </a:lnTo>
                <a:lnTo>
                  <a:pt x="281" y="76"/>
                </a:lnTo>
                <a:lnTo>
                  <a:pt x="273" y="91"/>
                </a:lnTo>
                <a:lnTo>
                  <a:pt x="265" y="107"/>
                </a:lnTo>
                <a:lnTo>
                  <a:pt x="257" y="125"/>
                </a:lnTo>
                <a:lnTo>
                  <a:pt x="251" y="143"/>
                </a:lnTo>
                <a:lnTo>
                  <a:pt x="245" y="162"/>
                </a:lnTo>
                <a:lnTo>
                  <a:pt x="238" y="183"/>
                </a:lnTo>
                <a:lnTo>
                  <a:pt x="207" y="175"/>
                </a:lnTo>
                <a:lnTo>
                  <a:pt x="178" y="170"/>
                </a:lnTo>
                <a:lnTo>
                  <a:pt x="149" y="167"/>
                </a:lnTo>
                <a:lnTo>
                  <a:pt x="124" y="166"/>
                </a:lnTo>
                <a:lnTo>
                  <a:pt x="111" y="166"/>
                </a:lnTo>
                <a:lnTo>
                  <a:pt x="100" y="167"/>
                </a:lnTo>
                <a:lnTo>
                  <a:pt x="89" y="168"/>
                </a:lnTo>
                <a:lnTo>
                  <a:pt x="79" y="170"/>
                </a:lnTo>
                <a:lnTo>
                  <a:pt x="70" y="172"/>
                </a:lnTo>
                <a:lnTo>
                  <a:pt x="62" y="174"/>
                </a:lnTo>
                <a:lnTo>
                  <a:pt x="54" y="178"/>
                </a:lnTo>
                <a:lnTo>
                  <a:pt x="47" y="181"/>
                </a:lnTo>
                <a:lnTo>
                  <a:pt x="35" y="188"/>
                </a:lnTo>
                <a:lnTo>
                  <a:pt x="25" y="196"/>
                </a:lnTo>
                <a:lnTo>
                  <a:pt x="18" y="203"/>
                </a:lnTo>
                <a:lnTo>
                  <a:pt x="12" y="212"/>
                </a:lnTo>
                <a:lnTo>
                  <a:pt x="8" y="221"/>
                </a:lnTo>
                <a:lnTo>
                  <a:pt x="5" y="229"/>
                </a:lnTo>
                <a:lnTo>
                  <a:pt x="3" y="238"/>
                </a:lnTo>
                <a:lnTo>
                  <a:pt x="0" y="248"/>
                </a:lnTo>
                <a:lnTo>
                  <a:pt x="0" y="259"/>
                </a:lnTo>
                <a:lnTo>
                  <a:pt x="1" y="268"/>
                </a:lnTo>
                <a:lnTo>
                  <a:pt x="3" y="279"/>
                </a:lnTo>
                <a:lnTo>
                  <a:pt x="6" y="291"/>
                </a:lnTo>
                <a:lnTo>
                  <a:pt x="9" y="302"/>
                </a:lnTo>
                <a:lnTo>
                  <a:pt x="13" y="315"/>
                </a:lnTo>
                <a:lnTo>
                  <a:pt x="19" y="327"/>
                </a:lnTo>
                <a:lnTo>
                  <a:pt x="25" y="340"/>
                </a:lnTo>
                <a:lnTo>
                  <a:pt x="33" y="351"/>
                </a:lnTo>
                <a:lnTo>
                  <a:pt x="41" y="365"/>
                </a:lnTo>
                <a:lnTo>
                  <a:pt x="51" y="378"/>
                </a:lnTo>
                <a:lnTo>
                  <a:pt x="61" y="392"/>
                </a:lnTo>
                <a:lnTo>
                  <a:pt x="72" y="404"/>
                </a:lnTo>
                <a:lnTo>
                  <a:pt x="81" y="416"/>
                </a:lnTo>
                <a:lnTo>
                  <a:pt x="93" y="429"/>
                </a:lnTo>
                <a:lnTo>
                  <a:pt x="105" y="441"/>
                </a:lnTo>
                <a:lnTo>
                  <a:pt x="89" y="458"/>
                </a:lnTo>
                <a:lnTo>
                  <a:pt x="75" y="475"/>
                </a:lnTo>
                <a:lnTo>
                  <a:pt x="61" y="491"/>
                </a:lnTo>
                <a:lnTo>
                  <a:pt x="49" y="507"/>
                </a:lnTo>
                <a:lnTo>
                  <a:pt x="38" y="523"/>
                </a:lnTo>
                <a:lnTo>
                  <a:pt x="28" y="538"/>
                </a:lnTo>
                <a:lnTo>
                  <a:pt x="21" y="553"/>
                </a:lnTo>
                <a:lnTo>
                  <a:pt x="14" y="569"/>
                </a:lnTo>
                <a:lnTo>
                  <a:pt x="8" y="584"/>
                </a:lnTo>
                <a:lnTo>
                  <a:pt x="5" y="598"/>
                </a:lnTo>
                <a:lnTo>
                  <a:pt x="1" y="612"/>
                </a:lnTo>
                <a:lnTo>
                  <a:pt x="0" y="625"/>
                </a:lnTo>
                <a:lnTo>
                  <a:pt x="1" y="637"/>
                </a:lnTo>
                <a:lnTo>
                  <a:pt x="4" y="648"/>
                </a:lnTo>
                <a:lnTo>
                  <a:pt x="7" y="659"/>
                </a:lnTo>
                <a:lnTo>
                  <a:pt x="12" y="670"/>
                </a:lnTo>
                <a:lnTo>
                  <a:pt x="18" y="679"/>
                </a:lnTo>
                <a:lnTo>
                  <a:pt x="25" y="686"/>
                </a:lnTo>
                <a:lnTo>
                  <a:pt x="35" y="694"/>
                </a:lnTo>
                <a:lnTo>
                  <a:pt x="47" y="701"/>
                </a:lnTo>
                <a:lnTo>
                  <a:pt x="54" y="705"/>
                </a:lnTo>
                <a:lnTo>
                  <a:pt x="62" y="708"/>
                </a:lnTo>
                <a:lnTo>
                  <a:pt x="70" y="710"/>
                </a:lnTo>
                <a:lnTo>
                  <a:pt x="79" y="712"/>
                </a:lnTo>
                <a:lnTo>
                  <a:pt x="89" y="714"/>
                </a:lnTo>
                <a:lnTo>
                  <a:pt x="100" y="715"/>
                </a:lnTo>
                <a:lnTo>
                  <a:pt x="111" y="716"/>
                </a:lnTo>
                <a:lnTo>
                  <a:pt x="124" y="716"/>
                </a:lnTo>
                <a:lnTo>
                  <a:pt x="149" y="715"/>
                </a:lnTo>
                <a:lnTo>
                  <a:pt x="178" y="712"/>
                </a:lnTo>
                <a:lnTo>
                  <a:pt x="207" y="707"/>
                </a:lnTo>
                <a:lnTo>
                  <a:pt x="238" y="699"/>
                </a:lnTo>
                <a:lnTo>
                  <a:pt x="245" y="720"/>
                </a:lnTo>
                <a:lnTo>
                  <a:pt x="251" y="739"/>
                </a:lnTo>
                <a:lnTo>
                  <a:pt x="257" y="758"/>
                </a:lnTo>
                <a:lnTo>
                  <a:pt x="265" y="775"/>
                </a:lnTo>
                <a:lnTo>
                  <a:pt x="273" y="791"/>
                </a:lnTo>
                <a:lnTo>
                  <a:pt x="281" y="806"/>
                </a:lnTo>
                <a:lnTo>
                  <a:pt x="290" y="820"/>
                </a:lnTo>
                <a:lnTo>
                  <a:pt x="299" y="832"/>
                </a:lnTo>
                <a:lnTo>
                  <a:pt x="308" y="844"/>
                </a:lnTo>
                <a:lnTo>
                  <a:pt x="318" y="854"/>
                </a:lnTo>
                <a:lnTo>
                  <a:pt x="328" y="862"/>
                </a:lnTo>
                <a:lnTo>
                  <a:pt x="338" y="869"/>
                </a:lnTo>
                <a:lnTo>
                  <a:pt x="348" y="874"/>
                </a:lnTo>
                <a:lnTo>
                  <a:pt x="359" y="878"/>
                </a:lnTo>
                <a:lnTo>
                  <a:pt x="370" y="881"/>
                </a:lnTo>
                <a:lnTo>
                  <a:pt x="382" y="882"/>
                </a:lnTo>
                <a:lnTo>
                  <a:pt x="392" y="881"/>
                </a:lnTo>
                <a:lnTo>
                  <a:pt x="403" y="878"/>
                </a:lnTo>
                <a:lnTo>
                  <a:pt x="414" y="874"/>
                </a:lnTo>
                <a:lnTo>
                  <a:pt x="425" y="869"/>
                </a:lnTo>
                <a:lnTo>
                  <a:pt x="435" y="861"/>
                </a:lnTo>
                <a:lnTo>
                  <a:pt x="445" y="853"/>
                </a:lnTo>
                <a:lnTo>
                  <a:pt x="455" y="843"/>
                </a:lnTo>
                <a:lnTo>
                  <a:pt x="464" y="831"/>
                </a:lnTo>
                <a:lnTo>
                  <a:pt x="473" y="818"/>
                </a:lnTo>
                <a:lnTo>
                  <a:pt x="482" y="804"/>
                </a:lnTo>
                <a:lnTo>
                  <a:pt x="491" y="789"/>
                </a:lnTo>
                <a:lnTo>
                  <a:pt x="498" y="773"/>
                </a:lnTo>
                <a:lnTo>
                  <a:pt x="506" y="754"/>
                </a:lnTo>
                <a:lnTo>
                  <a:pt x="512" y="736"/>
                </a:lnTo>
                <a:lnTo>
                  <a:pt x="520" y="715"/>
                </a:lnTo>
                <a:lnTo>
                  <a:pt x="525" y="695"/>
                </a:lnTo>
                <a:lnTo>
                  <a:pt x="560" y="705"/>
                </a:lnTo>
                <a:lnTo>
                  <a:pt x="593" y="711"/>
                </a:lnTo>
                <a:lnTo>
                  <a:pt x="610" y="713"/>
                </a:lnTo>
                <a:lnTo>
                  <a:pt x="625" y="715"/>
                </a:lnTo>
                <a:lnTo>
                  <a:pt x="640" y="716"/>
                </a:lnTo>
                <a:lnTo>
                  <a:pt x="655" y="716"/>
                </a:lnTo>
                <a:lnTo>
                  <a:pt x="667" y="716"/>
                </a:lnTo>
                <a:lnTo>
                  <a:pt x="679" y="715"/>
                </a:lnTo>
                <a:lnTo>
                  <a:pt x="689" y="714"/>
                </a:lnTo>
                <a:lnTo>
                  <a:pt x="699" y="712"/>
                </a:lnTo>
                <a:lnTo>
                  <a:pt x="708" y="710"/>
                </a:lnTo>
                <a:lnTo>
                  <a:pt x="716" y="708"/>
                </a:lnTo>
                <a:lnTo>
                  <a:pt x="724" y="705"/>
                </a:lnTo>
                <a:lnTo>
                  <a:pt x="731" y="701"/>
                </a:lnTo>
                <a:lnTo>
                  <a:pt x="742" y="694"/>
                </a:lnTo>
                <a:lnTo>
                  <a:pt x="752" y="686"/>
                </a:lnTo>
                <a:lnTo>
                  <a:pt x="760" y="679"/>
                </a:lnTo>
                <a:lnTo>
                  <a:pt x="766" y="670"/>
                </a:lnTo>
                <a:lnTo>
                  <a:pt x="770" y="659"/>
                </a:lnTo>
                <a:lnTo>
                  <a:pt x="775" y="648"/>
                </a:lnTo>
                <a:lnTo>
                  <a:pt x="777" y="637"/>
                </a:lnTo>
                <a:lnTo>
                  <a:pt x="777" y="625"/>
                </a:lnTo>
                <a:lnTo>
                  <a:pt x="776" y="611"/>
                </a:lnTo>
                <a:lnTo>
                  <a:pt x="774" y="598"/>
                </a:lnTo>
                <a:lnTo>
                  <a:pt x="769" y="584"/>
                </a:lnTo>
                <a:lnTo>
                  <a:pt x="764" y="569"/>
                </a:lnTo>
                <a:lnTo>
                  <a:pt x="758" y="553"/>
                </a:lnTo>
                <a:lnTo>
                  <a:pt x="749" y="538"/>
                </a:lnTo>
                <a:lnTo>
                  <a:pt x="739" y="523"/>
                </a:lnTo>
                <a:lnTo>
                  <a:pt x="728" y="507"/>
                </a:lnTo>
                <a:lnTo>
                  <a:pt x="716" y="491"/>
                </a:lnTo>
                <a:lnTo>
                  <a:pt x="702" y="475"/>
                </a:lnTo>
                <a:lnTo>
                  <a:pt x="688" y="457"/>
                </a:lnTo>
                <a:lnTo>
                  <a:pt x="673" y="44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4133" y="2793190"/>
            <a:ext cx="2303734" cy="2303734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9611" y="2930933"/>
            <a:ext cx="1777132" cy="1777132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292" y="3489017"/>
            <a:ext cx="1219048" cy="121904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365BAB6-0C19-4059-BEDC-444551FC16A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169" b="25990"/>
          <a:stretch/>
        </p:blipFill>
        <p:spPr>
          <a:xfrm>
            <a:off x="4700337" y="5103579"/>
            <a:ext cx="2371893" cy="1303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187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900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6096000" y="2019300"/>
            <a:ext cx="0" cy="822960"/>
          </a:xfrm>
          <a:prstGeom prst="line">
            <a:avLst/>
          </a:prstGeom>
          <a:ln w="28575">
            <a:solidFill>
              <a:schemeClr val="bg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6096000" y="4718957"/>
            <a:ext cx="0" cy="2194560"/>
          </a:xfrm>
          <a:prstGeom prst="line">
            <a:avLst/>
          </a:prstGeom>
          <a:ln w="28575">
            <a:solidFill>
              <a:schemeClr val="bg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7741167" y="2943815"/>
            <a:ext cx="36293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800" b="1" spc="300" dirty="0" err="1">
                <a:solidFill>
                  <a:schemeClr val="bg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Uber</a:t>
            </a:r>
            <a:r>
              <a:rPr lang="en-US" sz="4800" b="1" spc="300" dirty="0">
                <a:solidFill>
                  <a:schemeClr val="bg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 jump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159098" y="3066927"/>
            <a:ext cx="2882497" cy="58477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3200" spc="-151">
                <a:solidFill>
                  <a:schemeClr val="bg1"/>
                </a:solidFill>
                <a:latin typeface="Titillium" panose="00000500000000000000" pitchFamily="50" charset="0"/>
                <a:ea typeface="Roboto" panose="02000000000000000000" pitchFamily="2" charset="0"/>
                <a:cs typeface="Open Sans Semibold" panose="020B07060308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r"/>
            <a:r>
              <a:rPr lang="en-US" sz="4800" b="1" spc="300" dirty="0"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VELIB</a:t>
            </a:r>
            <a:endParaRPr lang="en-US" sz="2800" b="1" spc="300" dirty="0"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12" name="Rectangle 11"/>
          <p:cNvSpPr/>
          <p:nvPr>
            <p:custDataLst>
              <p:tags r:id="rId1"/>
            </p:custDataLst>
          </p:nvPr>
        </p:nvSpPr>
        <p:spPr>
          <a:xfrm>
            <a:off x="1460500" y="561217"/>
            <a:ext cx="9271000" cy="56644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spc="600" dirty="0">
                <a:solidFill>
                  <a:schemeClr val="bg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ETUDE DE L EXISTANT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5604303" y="3238900"/>
            <a:ext cx="983394" cy="966492"/>
            <a:chOff x="-20638" y="1588"/>
            <a:chExt cx="2955925" cy="2905125"/>
          </a:xfrm>
          <a:solidFill>
            <a:schemeClr val="tx1">
              <a:lumMod val="95000"/>
              <a:lumOff val="5000"/>
            </a:schemeClr>
          </a:solidFill>
        </p:grpSpPr>
        <p:sp>
          <p:nvSpPr>
            <p:cNvPr id="18" name="Freeform 5"/>
            <p:cNvSpPr>
              <a:spLocks/>
            </p:cNvSpPr>
            <p:nvPr/>
          </p:nvSpPr>
          <p:spPr bwMode="auto">
            <a:xfrm>
              <a:off x="1595438" y="363538"/>
              <a:ext cx="955675" cy="955675"/>
            </a:xfrm>
            <a:custGeom>
              <a:avLst/>
              <a:gdLst>
                <a:gd name="T0" fmla="*/ 229 w 254"/>
                <a:gd name="T1" fmla="*/ 242 h 254"/>
                <a:gd name="T2" fmla="*/ 229 w 254"/>
                <a:gd name="T3" fmla="*/ 242 h 254"/>
                <a:gd name="T4" fmla="*/ 241 w 254"/>
                <a:gd name="T5" fmla="*/ 254 h 254"/>
                <a:gd name="T6" fmla="*/ 254 w 254"/>
                <a:gd name="T7" fmla="*/ 242 h 254"/>
                <a:gd name="T8" fmla="*/ 253 w 254"/>
                <a:gd name="T9" fmla="*/ 242 h 254"/>
                <a:gd name="T10" fmla="*/ 13 w 254"/>
                <a:gd name="T11" fmla="*/ 1 h 254"/>
                <a:gd name="T12" fmla="*/ 12 w 254"/>
                <a:gd name="T13" fmla="*/ 0 h 254"/>
                <a:gd name="T14" fmla="*/ 0 w 254"/>
                <a:gd name="T15" fmla="*/ 13 h 254"/>
                <a:gd name="T16" fmla="*/ 12 w 254"/>
                <a:gd name="T17" fmla="*/ 25 h 254"/>
                <a:gd name="T18" fmla="*/ 12 w 254"/>
                <a:gd name="T19" fmla="*/ 25 h 254"/>
                <a:gd name="T20" fmla="*/ 229 w 254"/>
                <a:gd name="T21" fmla="*/ 242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" h="254">
                  <a:moveTo>
                    <a:pt x="229" y="242"/>
                  </a:moveTo>
                  <a:cubicBezTo>
                    <a:pt x="229" y="242"/>
                    <a:pt x="229" y="242"/>
                    <a:pt x="229" y="242"/>
                  </a:cubicBezTo>
                  <a:cubicBezTo>
                    <a:pt x="229" y="248"/>
                    <a:pt x="235" y="254"/>
                    <a:pt x="241" y="254"/>
                  </a:cubicBezTo>
                  <a:cubicBezTo>
                    <a:pt x="248" y="254"/>
                    <a:pt x="254" y="248"/>
                    <a:pt x="254" y="242"/>
                  </a:cubicBezTo>
                  <a:cubicBezTo>
                    <a:pt x="254" y="242"/>
                    <a:pt x="253" y="242"/>
                    <a:pt x="253" y="242"/>
                  </a:cubicBezTo>
                  <a:cubicBezTo>
                    <a:pt x="253" y="109"/>
                    <a:pt x="146" y="1"/>
                    <a:pt x="13" y="1"/>
                  </a:cubicBezTo>
                  <a:cubicBezTo>
                    <a:pt x="13" y="1"/>
                    <a:pt x="12" y="0"/>
                    <a:pt x="12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19"/>
                    <a:pt x="6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2" y="25"/>
                    <a:pt x="229" y="122"/>
                    <a:pt x="229" y="242"/>
                  </a:cubicBezTo>
                  <a:close/>
                </a:path>
              </a:pathLst>
            </a:custGeom>
            <a:grpFill/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-20638" y="1588"/>
              <a:ext cx="2955925" cy="2905125"/>
              <a:chOff x="-20638" y="1588"/>
              <a:chExt cx="2955925" cy="2905125"/>
            </a:xfrm>
            <a:grpFill/>
          </p:grpSpPr>
          <p:sp>
            <p:nvSpPr>
              <p:cNvPr id="22" name="Freeform 6"/>
              <p:cNvSpPr>
                <a:spLocks noEditPoints="1"/>
              </p:cNvSpPr>
              <p:nvPr/>
            </p:nvSpPr>
            <p:spPr bwMode="auto">
              <a:xfrm>
                <a:off x="-20638" y="1588"/>
                <a:ext cx="2955925" cy="2905125"/>
              </a:xfrm>
              <a:custGeom>
                <a:avLst/>
                <a:gdLst>
                  <a:gd name="T0" fmla="*/ 227 w 785"/>
                  <a:gd name="T1" fmla="*/ 21 h 772"/>
                  <a:gd name="T2" fmla="*/ 176 w 785"/>
                  <a:gd name="T3" fmla="*/ 0 h 772"/>
                  <a:gd name="T4" fmla="*/ 148 w 785"/>
                  <a:gd name="T5" fmla="*/ 6 h 772"/>
                  <a:gd name="T6" fmla="*/ 103 w 785"/>
                  <a:gd name="T7" fmla="*/ 72 h 772"/>
                  <a:gd name="T8" fmla="*/ 103 w 785"/>
                  <a:gd name="T9" fmla="*/ 404 h 772"/>
                  <a:gd name="T10" fmla="*/ 28 w 785"/>
                  <a:gd name="T11" fmla="*/ 480 h 772"/>
                  <a:gd name="T12" fmla="*/ 28 w 785"/>
                  <a:gd name="T13" fmla="*/ 582 h 772"/>
                  <a:gd name="T14" fmla="*/ 197 w 785"/>
                  <a:gd name="T15" fmla="*/ 751 h 772"/>
                  <a:gd name="T16" fmla="*/ 248 w 785"/>
                  <a:gd name="T17" fmla="*/ 772 h 772"/>
                  <a:gd name="T18" fmla="*/ 299 w 785"/>
                  <a:gd name="T19" fmla="*/ 751 h 772"/>
                  <a:gd name="T20" fmla="*/ 375 w 785"/>
                  <a:gd name="T21" fmla="*/ 675 h 772"/>
                  <a:gd name="T22" fmla="*/ 707 w 785"/>
                  <a:gd name="T23" fmla="*/ 675 h 772"/>
                  <a:gd name="T24" fmla="*/ 773 w 785"/>
                  <a:gd name="T25" fmla="*/ 631 h 772"/>
                  <a:gd name="T26" fmla="*/ 758 w 785"/>
                  <a:gd name="T27" fmla="*/ 552 h 772"/>
                  <a:gd name="T28" fmla="*/ 227 w 785"/>
                  <a:gd name="T29" fmla="*/ 21 h 772"/>
                  <a:gd name="T30" fmla="*/ 341 w 785"/>
                  <a:gd name="T31" fmla="*/ 641 h 772"/>
                  <a:gd name="T32" fmla="*/ 265 w 785"/>
                  <a:gd name="T33" fmla="*/ 717 h 772"/>
                  <a:gd name="T34" fmla="*/ 248 w 785"/>
                  <a:gd name="T35" fmla="*/ 724 h 772"/>
                  <a:gd name="T36" fmla="*/ 231 w 785"/>
                  <a:gd name="T37" fmla="*/ 717 h 772"/>
                  <a:gd name="T38" fmla="*/ 62 w 785"/>
                  <a:gd name="T39" fmla="*/ 548 h 772"/>
                  <a:gd name="T40" fmla="*/ 55 w 785"/>
                  <a:gd name="T41" fmla="*/ 531 h 772"/>
                  <a:gd name="T42" fmla="*/ 62 w 785"/>
                  <a:gd name="T43" fmla="*/ 514 h 772"/>
                  <a:gd name="T44" fmla="*/ 138 w 785"/>
                  <a:gd name="T45" fmla="*/ 438 h 772"/>
                  <a:gd name="T46" fmla="*/ 138 w 785"/>
                  <a:gd name="T47" fmla="*/ 438 h 772"/>
                  <a:gd name="T48" fmla="*/ 341 w 785"/>
                  <a:gd name="T49" fmla="*/ 641 h 772"/>
                  <a:gd name="T50" fmla="*/ 341 w 785"/>
                  <a:gd name="T51" fmla="*/ 641 h 772"/>
                  <a:gd name="T52" fmla="*/ 375 w 785"/>
                  <a:gd name="T53" fmla="*/ 627 h 772"/>
                  <a:gd name="T54" fmla="*/ 364 w 785"/>
                  <a:gd name="T55" fmla="*/ 629 h 772"/>
                  <a:gd name="T56" fmla="*/ 150 w 785"/>
                  <a:gd name="T57" fmla="*/ 415 h 772"/>
                  <a:gd name="T58" fmla="*/ 152 w 785"/>
                  <a:gd name="T59" fmla="*/ 404 h 772"/>
                  <a:gd name="T60" fmla="*/ 152 w 785"/>
                  <a:gd name="T61" fmla="*/ 114 h 772"/>
                  <a:gd name="T62" fmla="*/ 665 w 785"/>
                  <a:gd name="T63" fmla="*/ 627 h 772"/>
                  <a:gd name="T64" fmla="*/ 375 w 785"/>
                  <a:gd name="T65" fmla="*/ 627 h 772"/>
                  <a:gd name="T66" fmla="*/ 729 w 785"/>
                  <a:gd name="T67" fmla="*/ 612 h 772"/>
                  <a:gd name="T68" fmla="*/ 707 w 785"/>
                  <a:gd name="T69" fmla="*/ 627 h 772"/>
                  <a:gd name="T70" fmla="*/ 699 w 785"/>
                  <a:gd name="T71" fmla="*/ 627 h 772"/>
                  <a:gd name="T72" fmla="*/ 152 w 785"/>
                  <a:gd name="T73" fmla="*/ 80 h 772"/>
                  <a:gd name="T74" fmla="*/ 152 w 785"/>
                  <a:gd name="T75" fmla="*/ 72 h 772"/>
                  <a:gd name="T76" fmla="*/ 167 w 785"/>
                  <a:gd name="T77" fmla="*/ 50 h 772"/>
                  <a:gd name="T78" fmla="*/ 176 w 785"/>
                  <a:gd name="T79" fmla="*/ 48 h 772"/>
                  <a:gd name="T80" fmla="*/ 193 w 785"/>
                  <a:gd name="T81" fmla="*/ 55 h 772"/>
                  <a:gd name="T82" fmla="*/ 724 w 785"/>
                  <a:gd name="T83" fmla="*/ 586 h 772"/>
                  <a:gd name="T84" fmla="*/ 729 w 785"/>
                  <a:gd name="T85" fmla="*/ 612 h 7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85" h="772">
                    <a:moveTo>
                      <a:pt x="227" y="21"/>
                    </a:moveTo>
                    <a:cubicBezTo>
                      <a:pt x="213" y="7"/>
                      <a:pt x="195" y="0"/>
                      <a:pt x="176" y="0"/>
                    </a:cubicBezTo>
                    <a:cubicBezTo>
                      <a:pt x="167" y="0"/>
                      <a:pt x="157" y="2"/>
                      <a:pt x="148" y="6"/>
                    </a:cubicBezTo>
                    <a:cubicBezTo>
                      <a:pt x="121" y="17"/>
                      <a:pt x="103" y="43"/>
                      <a:pt x="103" y="72"/>
                    </a:cubicBezTo>
                    <a:cubicBezTo>
                      <a:pt x="103" y="404"/>
                      <a:pt x="103" y="404"/>
                      <a:pt x="103" y="404"/>
                    </a:cubicBezTo>
                    <a:cubicBezTo>
                      <a:pt x="28" y="480"/>
                      <a:pt x="28" y="480"/>
                      <a:pt x="28" y="480"/>
                    </a:cubicBezTo>
                    <a:cubicBezTo>
                      <a:pt x="0" y="508"/>
                      <a:pt x="0" y="554"/>
                      <a:pt x="28" y="582"/>
                    </a:cubicBezTo>
                    <a:cubicBezTo>
                      <a:pt x="197" y="751"/>
                      <a:pt x="197" y="751"/>
                      <a:pt x="197" y="751"/>
                    </a:cubicBezTo>
                    <a:cubicBezTo>
                      <a:pt x="211" y="765"/>
                      <a:pt x="230" y="772"/>
                      <a:pt x="248" y="772"/>
                    </a:cubicBezTo>
                    <a:cubicBezTo>
                      <a:pt x="267" y="772"/>
                      <a:pt x="285" y="765"/>
                      <a:pt x="299" y="751"/>
                    </a:cubicBezTo>
                    <a:cubicBezTo>
                      <a:pt x="375" y="675"/>
                      <a:pt x="375" y="675"/>
                      <a:pt x="375" y="675"/>
                    </a:cubicBezTo>
                    <a:cubicBezTo>
                      <a:pt x="707" y="675"/>
                      <a:pt x="707" y="675"/>
                      <a:pt x="707" y="675"/>
                    </a:cubicBezTo>
                    <a:cubicBezTo>
                      <a:pt x="736" y="675"/>
                      <a:pt x="762" y="658"/>
                      <a:pt x="773" y="631"/>
                    </a:cubicBezTo>
                    <a:cubicBezTo>
                      <a:pt x="785" y="604"/>
                      <a:pt x="778" y="573"/>
                      <a:pt x="758" y="552"/>
                    </a:cubicBezTo>
                    <a:lnTo>
                      <a:pt x="227" y="21"/>
                    </a:lnTo>
                    <a:close/>
                    <a:moveTo>
                      <a:pt x="341" y="641"/>
                    </a:moveTo>
                    <a:cubicBezTo>
                      <a:pt x="265" y="717"/>
                      <a:pt x="265" y="717"/>
                      <a:pt x="265" y="717"/>
                    </a:cubicBezTo>
                    <a:cubicBezTo>
                      <a:pt x="259" y="723"/>
                      <a:pt x="252" y="724"/>
                      <a:pt x="248" y="724"/>
                    </a:cubicBezTo>
                    <a:cubicBezTo>
                      <a:pt x="245" y="724"/>
                      <a:pt x="237" y="723"/>
                      <a:pt x="231" y="717"/>
                    </a:cubicBezTo>
                    <a:cubicBezTo>
                      <a:pt x="62" y="548"/>
                      <a:pt x="62" y="548"/>
                      <a:pt x="62" y="548"/>
                    </a:cubicBezTo>
                    <a:cubicBezTo>
                      <a:pt x="56" y="542"/>
                      <a:pt x="55" y="534"/>
                      <a:pt x="55" y="531"/>
                    </a:cubicBezTo>
                    <a:cubicBezTo>
                      <a:pt x="55" y="527"/>
                      <a:pt x="56" y="520"/>
                      <a:pt x="62" y="514"/>
                    </a:cubicBezTo>
                    <a:cubicBezTo>
                      <a:pt x="138" y="438"/>
                      <a:pt x="138" y="438"/>
                      <a:pt x="138" y="438"/>
                    </a:cubicBezTo>
                    <a:cubicBezTo>
                      <a:pt x="138" y="438"/>
                      <a:pt x="138" y="438"/>
                      <a:pt x="138" y="438"/>
                    </a:cubicBezTo>
                    <a:cubicBezTo>
                      <a:pt x="341" y="641"/>
                      <a:pt x="341" y="641"/>
                      <a:pt x="341" y="641"/>
                    </a:cubicBezTo>
                    <a:cubicBezTo>
                      <a:pt x="341" y="641"/>
                      <a:pt x="341" y="641"/>
                      <a:pt x="341" y="641"/>
                    </a:cubicBezTo>
                    <a:close/>
                    <a:moveTo>
                      <a:pt x="375" y="627"/>
                    </a:moveTo>
                    <a:cubicBezTo>
                      <a:pt x="371" y="627"/>
                      <a:pt x="368" y="629"/>
                      <a:pt x="364" y="629"/>
                    </a:cubicBezTo>
                    <a:cubicBezTo>
                      <a:pt x="150" y="415"/>
                      <a:pt x="150" y="415"/>
                      <a:pt x="150" y="415"/>
                    </a:cubicBezTo>
                    <a:cubicBezTo>
                      <a:pt x="150" y="411"/>
                      <a:pt x="152" y="408"/>
                      <a:pt x="152" y="404"/>
                    </a:cubicBezTo>
                    <a:cubicBezTo>
                      <a:pt x="152" y="114"/>
                      <a:pt x="152" y="114"/>
                      <a:pt x="152" y="114"/>
                    </a:cubicBezTo>
                    <a:cubicBezTo>
                      <a:pt x="665" y="627"/>
                      <a:pt x="665" y="627"/>
                      <a:pt x="665" y="627"/>
                    </a:cubicBezTo>
                    <a:lnTo>
                      <a:pt x="375" y="627"/>
                    </a:lnTo>
                    <a:close/>
                    <a:moveTo>
                      <a:pt x="729" y="612"/>
                    </a:moveTo>
                    <a:cubicBezTo>
                      <a:pt x="725" y="621"/>
                      <a:pt x="716" y="627"/>
                      <a:pt x="707" y="627"/>
                    </a:cubicBezTo>
                    <a:cubicBezTo>
                      <a:pt x="699" y="627"/>
                      <a:pt x="699" y="627"/>
                      <a:pt x="699" y="627"/>
                    </a:cubicBezTo>
                    <a:cubicBezTo>
                      <a:pt x="152" y="80"/>
                      <a:pt x="152" y="80"/>
                      <a:pt x="152" y="80"/>
                    </a:cubicBezTo>
                    <a:cubicBezTo>
                      <a:pt x="152" y="72"/>
                      <a:pt x="152" y="72"/>
                      <a:pt x="152" y="72"/>
                    </a:cubicBezTo>
                    <a:cubicBezTo>
                      <a:pt x="152" y="63"/>
                      <a:pt x="158" y="54"/>
                      <a:pt x="167" y="50"/>
                    </a:cubicBezTo>
                    <a:cubicBezTo>
                      <a:pt x="170" y="49"/>
                      <a:pt x="173" y="48"/>
                      <a:pt x="176" y="48"/>
                    </a:cubicBezTo>
                    <a:cubicBezTo>
                      <a:pt x="182" y="48"/>
                      <a:pt x="188" y="51"/>
                      <a:pt x="193" y="55"/>
                    </a:cubicBezTo>
                    <a:cubicBezTo>
                      <a:pt x="724" y="586"/>
                      <a:pt x="724" y="586"/>
                      <a:pt x="724" y="586"/>
                    </a:cubicBezTo>
                    <a:cubicBezTo>
                      <a:pt x="731" y="593"/>
                      <a:pt x="733" y="603"/>
                      <a:pt x="729" y="612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sp>
            <p:nvSpPr>
              <p:cNvPr id="23" name="Freeform 7"/>
              <p:cNvSpPr>
                <a:spLocks/>
              </p:cNvSpPr>
              <p:nvPr/>
            </p:nvSpPr>
            <p:spPr bwMode="auto">
              <a:xfrm>
                <a:off x="1549400" y="1588"/>
                <a:ext cx="1362075" cy="1362075"/>
              </a:xfrm>
              <a:custGeom>
                <a:avLst/>
                <a:gdLst>
                  <a:gd name="T0" fmla="*/ 24 w 362"/>
                  <a:gd name="T1" fmla="*/ 48 h 362"/>
                  <a:gd name="T2" fmla="*/ 24 w 362"/>
                  <a:gd name="T3" fmla="*/ 48 h 362"/>
                  <a:gd name="T4" fmla="*/ 314 w 362"/>
                  <a:gd name="T5" fmla="*/ 338 h 362"/>
                  <a:gd name="T6" fmla="*/ 314 w 362"/>
                  <a:gd name="T7" fmla="*/ 338 h 362"/>
                  <a:gd name="T8" fmla="*/ 338 w 362"/>
                  <a:gd name="T9" fmla="*/ 362 h 362"/>
                  <a:gd name="T10" fmla="*/ 362 w 362"/>
                  <a:gd name="T11" fmla="*/ 338 h 362"/>
                  <a:gd name="T12" fmla="*/ 362 w 362"/>
                  <a:gd name="T13" fmla="*/ 338 h 362"/>
                  <a:gd name="T14" fmla="*/ 25 w 362"/>
                  <a:gd name="T15" fmla="*/ 0 h 362"/>
                  <a:gd name="T16" fmla="*/ 24 w 362"/>
                  <a:gd name="T17" fmla="*/ 0 h 362"/>
                  <a:gd name="T18" fmla="*/ 0 w 362"/>
                  <a:gd name="T19" fmla="*/ 24 h 362"/>
                  <a:gd name="T20" fmla="*/ 24 w 362"/>
                  <a:gd name="T21" fmla="*/ 48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2" h="362">
                    <a:moveTo>
                      <a:pt x="24" y="48"/>
                    </a:moveTo>
                    <a:cubicBezTo>
                      <a:pt x="24" y="48"/>
                      <a:pt x="24" y="48"/>
                      <a:pt x="24" y="48"/>
                    </a:cubicBezTo>
                    <a:cubicBezTo>
                      <a:pt x="184" y="48"/>
                      <a:pt x="314" y="178"/>
                      <a:pt x="314" y="338"/>
                    </a:cubicBezTo>
                    <a:cubicBezTo>
                      <a:pt x="314" y="338"/>
                      <a:pt x="314" y="338"/>
                      <a:pt x="314" y="338"/>
                    </a:cubicBezTo>
                    <a:cubicBezTo>
                      <a:pt x="314" y="351"/>
                      <a:pt x="325" y="362"/>
                      <a:pt x="338" y="362"/>
                    </a:cubicBezTo>
                    <a:cubicBezTo>
                      <a:pt x="351" y="362"/>
                      <a:pt x="362" y="351"/>
                      <a:pt x="362" y="338"/>
                    </a:cubicBezTo>
                    <a:cubicBezTo>
                      <a:pt x="362" y="338"/>
                      <a:pt x="362" y="338"/>
                      <a:pt x="362" y="338"/>
                    </a:cubicBezTo>
                    <a:cubicBezTo>
                      <a:pt x="362" y="151"/>
                      <a:pt x="211" y="0"/>
                      <a:pt x="25" y="0"/>
                    </a:cubicBezTo>
                    <a:cubicBezTo>
                      <a:pt x="25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37"/>
                      <a:pt x="11" y="48"/>
                      <a:pt x="24" y="48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</p:grpSp>
      </p:grpSp>
      <p:sp>
        <p:nvSpPr>
          <p:cNvPr id="24" name="TextBox 23"/>
          <p:cNvSpPr txBox="1"/>
          <p:nvPr/>
        </p:nvSpPr>
        <p:spPr>
          <a:xfrm>
            <a:off x="1425728" y="4079607"/>
            <a:ext cx="26158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latin typeface="Lato "/>
              </a:rPr>
              <a:t>GEOLOCALISER LES VELOS </a:t>
            </a:r>
            <a:r>
              <a:rPr lang="en-US" sz="1200" b="1" dirty="0">
                <a:solidFill>
                  <a:schemeClr val="bg1"/>
                </a:solidFill>
                <a:latin typeface="Lato "/>
              </a:rPr>
              <a:t>SUR UN RESEAU DE 1300 STATIONS.</a:t>
            </a:r>
            <a:endParaRPr lang="en-US" sz="1200" dirty="0">
              <a:solidFill>
                <a:schemeClr val="bg1"/>
              </a:solidFill>
              <a:latin typeface="Lato "/>
            </a:endParaRPr>
          </a:p>
        </p:txBody>
      </p:sp>
      <p:sp>
        <p:nvSpPr>
          <p:cNvPr id="17" name="Round Same Side Corner Rectangle 16"/>
          <p:cNvSpPr/>
          <p:nvPr/>
        </p:nvSpPr>
        <p:spPr>
          <a:xfrm flipV="1">
            <a:off x="4916256" y="0"/>
            <a:ext cx="2359491" cy="13411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D59F26C4-D45C-449B-845B-D6966B6EB65F}" type="slidenum">
              <a:rPr lang="en-US" smtClean="0"/>
              <a:pPr algn="ctr"/>
              <a:t>4</a:t>
            </a:fld>
            <a:endParaRPr lang="en-US"/>
          </a:p>
        </p:txBody>
      </p:sp>
      <p:sp>
        <p:nvSpPr>
          <p:cNvPr id="25" name="TextBox 23"/>
          <p:cNvSpPr txBox="1"/>
          <p:nvPr/>
        </p:nvSpPr>
        <p:spPr>
          <a:xfrm>
            <a:off x="8115633" y="4205392"/>
            <a:ext cx="26158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Lato "/>
              </a:rPr>
              <a:t>4000 </a:t>
            </a:r>
            <a:r>
              <a:rPr lang="en-US" sz="1200" dirty="0" err="1">
                <a:solidFill>
                  <a:schemeClr val="bg1"/>
                </a:solidFill>
                <a:latin typeface="Lato "/>
              </a:rPr>
              <a:t>vélos</a:t>
            </a:r>
            <a:r>
              <a:rPr lang="en-US" sz="1200" dirty="0">
                <a:solidFill>
                  <a:schemeClr val="bg1"/>
                </a:solidFill>
                <a:latin typeface="Lato "/>
              </a:rPr>
              <a:t> et 500 </a:t>
            </a:r>
            <a:r>
              <a:rPr lang="en-US" sz="1200" dirty="0" err="1">
                <a:solidFill>
                  <a:schemeClr val="bg1"/>
                </a:solidFill>
                <a:latin typeface="Lato "/>
              </a:rPr>
              <a:t>trotinettes</a:t>
            </a:r>
            <a:r>
              <a:rPr lang="en-US" sz="1200" dirty="0">
                <a:solidFill>
                  <a:schemeClr val="bg1"/>
                </a:solidFill>
                <a:latin typeface="Lato 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Lato "/>
              </a:rPr>
              <a:t>sur</a:t>
            </a:r>
            <a:r>
              <a:rPr lang="en-US" sz="1200" dirty="0">
                <a:solidFill>
                  <a:schemeClr val="bg1"/>
                </a:solidFill>
                <a:latin typeface="Lato "/>
              </a:rPr>
              <a:t> Paris.</a:t>
            </a:r>
          </a:p>
        </p:txBody>
      </p:sp>
    </p:spTree>
    <p:extLst>
      <p:ext uri="{BB962C8B-B14F-4D97-AF65-F5344CB8AC3E}">
        <p14:creationId xmlns:p14="http://schemas.microsoft.com/office/powerpoint/2010/main" val="342958638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250"/>
                            </p:stCondLst>
                            <p:childTnLst>
                              <p:par>
                                <p:cTn id="14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900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250"/>
                            </p:stCondLst>
                            <p:childTnLst>
                              <p:par>
                                <p:cTn id="21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900" decel="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250"/>
                            </p:stCondLst>
                            <p:childTnLst>
                              <p:par>
                                <p:cTn id="28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900" decel="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250"/>
                            </p:stCondLst>
                            <p:childTnLst>
                              <p:par>
                                <p:cTn id="3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750"/>
                            </p:stCondLst>
                            <p:childTnLst>
                              <p:par>
                                <p:cTn id="3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900" decel="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10" grpId="0"/>
      <p:bldP spid="24" grpId="0"/>
      <p:bldP spid="2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6096000" y="-31899"/>
            <a:ext cx="0" cy="1517799"/>
          </a:xfrm>
          <a:prstGeom prst="line">
            <a:avLst/>
          </a:prstGeom>
          <a:ln w="28575">
            <a:solidFill>
              <a:schemeClr val="bg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6096000" y="5118100"/>
            <a:ext cx="0" cy="1795417"/>
          </a:xfrm>
          <a:prstGeom prst="line">
            <a:avLst/>
          </a:prstGeom>
          <a:ln w="28575">
            <a:solidFill>
              <a:schemeClr val="bg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541019" y="854156"/>
            <a:ext cx="4194643" cy="58477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3200" spc="-151">
                <a:solidFill>
                  <a:schemeClr val="bg1"/>
                </a:solidFill>
                <a:latin typeface="Titillium" panose="00000500000000000000" pitchFamily="50" charset="0"/>
                <a:ea typeface="Roboto" panose="02000000000000000000" pitchFamily="2" charset="0"/>
                <a:cs typeface="Open Sans Semibold" panose="020B07060308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r"/>
            <a:r>
              <a:rPr lang="en-US" sz="2800" spc="300" dirty="0" err="1">
                <a:latin typeface="Lato "/>
              </a:rPr>
              <a:t>Problème</a:t>
            </a:r>
            <a:r>
              <a:rPr lang="en-US" sz="2800" spc="0" dirty="0">
                <a:latin typeface="Lato "/>
              </a:rPr>
              <a:t> technique sur les </a:t>
            </a:r>
            <a:r>
              <a:rPr lang="en-US" sz="2800" spc="0" dirty="0" err="1">
                <a:latin typeface="Lato "/>
              </a:rPr>
              <a:t>vélos</a:t>
            </a:r>
            <a:r>
              <a:rPr lang="en-US" sz="2800" spc="0" dirty="0">
                <a:latin typeface="Lato "/>
              </a:rPr>
              <a:t>.</a:t>
            </a:r>
            <a:endParaRPr lang="en-US" sz="2800" dirty="0">
              <a:latin typeface="Lato "/>
            </a:endParaRPr>
          </a:p>
        </p:txBody>
      </p:sp>
      <p:sp>
        <p:nvSpPr>
          <p:cNvPr id="4" name="Arc 3"/>
          <p:cNvSpPr/>
          <p:nvPr/>
        </p:nvSpPr>
        <p:spPr>
          <a:xfrm>
            <a:off x="4248470" y="1490500"/>
            <a:ext cx="3733780" cy="3319272"/>
          </a:xfrm>
          <a:prstGeom prst="arc">
            <a:avLst>
              <a:gd name="adj1" fmla="val 12042590"/>
              <a:gd name="adj2" fmla="val 20458908"/>
            </a:avLst>
          </a:prstGeom>
          <a:ln w="28575">
            <a:solidFill>
              <a:schemeClr val="bg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reeform 11"/>
          <p:cNvSpPr>
            <a:spLocks noEditPoints="1"/>
          </p:cNvSpPr>
          <p:nvPr/>
        </p:nvSpPr>
        <p:spPr bwMode="auto">
          <a:xfrm>
            <a:off x="3798629" y="2883011"/>
            <a:ext cx="678200" cy="670934"/>
          </a:xfrm>
          <a:custGeom>
            <a:avLst/>
            <a:gdLst>
              <a:gd name="T0" fmla="*/ 876 w 906"/>
              <a:gd name="T1" fmla="*/ 793 h 896"/>
              <a:gd name="T2" fmla="*/ 616 w 906"/>
              <a:gd name="T3" fmla="*/ 690 h 896"/>
              <a:gd name="T4" fmla="*/ 723 w 906"/>
              <a:gd name="T5" fmla="*/ 461 h 896"/>
              <a:gd name="T6" fmla="*/ 652 w 906"/>
              <a:gd name="T7" fmla="*/ 95 h 896"/>
              <a:gd name="T8" fmla="*/ 453 w 906"/>
              <a:gd name="T9" fmla="*/ 0 h 896"/>
              <a:gd name="T10" fmla="*/ 254 w 906"/>
              <a:gd name="T11" fmla="*/ 95 h 896"/>
              <a:gd name="T12" fmla="*/ 183 w 906"/>
              <a:gd name="T13" fmla="*/ 461 h 896"/>
              <a:gd name="T14" fmla="*/ 290 w 906"/>
              <a:gd name="T15" fmla="*/ 690 h 896"/>
              <a:gd name="T16" fmla="*/ 30 w 906"/>
              <a:gd name="T17" fmla="*/ 793 h 896"/>
              <a:gd name="T18" fmla="*/ 7 w 906"/>
              <a:gd name="T19" fmla="*/ 856 h 896"/>
              <a:gd name="T20" fmla="*/ 61 w 906"/>
              <a:gd name="T21" fmla="*/ 896 h 896"/>
              <a:gd name="T22" fmla="*/ 845 w 906"/>
              <a:gd name="T23" fmla="*/ 896 h 896"/>
              <a:gd name="T24" fmla="*/ 899 w 906"/>
              <a:gd name="T25" fmla="*/ 856 h 896"/>
              <a:gd name="T26" fmla="*/ 876 w 906"/>
              <a:gd name="T27" fmla="*/ 793 h 896"/>
              <a:gd name="T28" fmla="*/ 572 w 906"/>
              <a:gd name="T29" fmla="*/ 655 h 896"/>
              <a:gd name="T30" fmla="*/ 563 w 906"/>
              <a:gd name="T31" fmla="*/ 667 h 896"/>
              <a:gd name="T32" fmla="*/ 343 w 906"/>
              <a:gd name="T33" fmla="*/ 667 h 896"/>
              <a:gd name="T34" fmla="*/ 334 w 906"/>
              <a:gd name="T35" fmla="*/ 655 h 896"/>
              <a:gd name="T36" fmla="*/ 234 w 906"/>
              <a:gd name="T37" fmla="*/ 301 h 896"/>
              <a:gd name="T38" fmla="*/ 453 w 906"/>
              <a:gd name="T39" fmla="*/ 56 h 896"/>
              <a:gd name="T40" fmla="*/ 672 w 906"/>
              <a:gd name="T41" fmla="*/ 301 h 896"/>
              <a:gd name="T42" fmla="*/ 572 w 906"/>
              <a:gd name="T43" fmla="*/ 655 h 896"/>
              <a:gd name="T44" fmla="*/ 61 w 906"/>
              <a:gd name="T45" fmla="*/ 840 h 896"/>
              <a:gd name="T46" fmla="*/ 301 w 906"/>
              <a:gd name="T47" fmla="*/ 745 h 896"/>
              <a:gd name="T48" fmla="*/ 371 w 906"/>
              <a:gd name="T49" fmla="*/ 730 h 896"/>
              <a:gd name="T50" fmla="*/ 453 w 906"/>
              <a:gd name="T51" fmla="*/ 756 h 896"/>
              <a:gd name="T52" fmla="*/ 535 w 906"/>
              <a:gd name="T53" fmla="*/ 730 h 896"/>
              <a:gd name="T54" fmla="*/ 605 w 906"/>
              <a:gd name="T55" fmla="*/ 745 h 896"/>
              <a:gd name="T56" fmla="*/ 845 w 906"/>
              <a:gd name="T57" fmla="*/ 840 h 896"/>
              <a:gd name="T58" fmla="*/ 61 w 906"/>
              <a:gd name="T59" fmla="*/ 840 h 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906" h="896">
                <a:moveTo>
                  <a:pt x="876" y="793"/>
                </a:moveTo>
                <a:cubicBezTo>
                  <a:pt x="870" y="790"/>
                  <a:pt x="768" y="723"/>
                  <a:pt x="616" y="690"/>
                </a:cubicBezTo>
                <a:cubicBezTo>
                  <a:pt x="672" y="619"/>
                  <a:pt x="708" y="524"/>
                  <a:pt x="723" y="461"/>
                </a:cubicBezTo>
                <a:cubicBezTo>
                  <a:pt x="744" y="374"/>
                  <a:pt x="736" y="202"/>
                  <a:pt x="652" y="95"/>
                </a:cubicBezTo>
                <a:cubicBezTo>
                  <a:pt x="603" y="33"/>
                  <a:pt x="534" y="0"/>
                  <a:pt x="453" y="0"/>
                </a:cubicBezTo>
                <a:cubicBezTo>
                  <a:pt x="372" y="0"/>
                  <a:pt x="303" y="33"/>
                  <a:pt x="254" y="95"/>
                </a:cubicBezTo>
                <a:cubicBezTo>
                  <a:pt x="170" y="202"/>
                  <a:pt x="162" y="374"/>
                  <a:pt x="183" y="461"/>
                </a:cubicBezTo>
                <a:cubicBezTo>
                  <a:pt x="198" y="524"/>
                  <a:pt x="234" y="619"/>
                  <a:pt x="290" y="690"/>
                </a:cubicBezTo>
                <a:cubicBezTo>
                  <a:pt x="138" y="723"/>
                  <a:pt x="36" y="790"/>
                  <a:pt x="30" y="793"/>
                </a:cubicBezTo>
                <a:cubicBezTo>
                  <a:pt x="9" y="807"/>
                  <a:pt x="0" y="833"/>
                  <a:pt x="7" y="856"/>
                </a:cubicBezTo>
                <a:cubicBezTo>
                  <a:pt x="15" y="880"/>
                  <a:pt x="36" y="896"/>
                  <a:pt x="61" y="896"/>
                </a:cubicBezTo>
                <a:cubicBezTo>
                  <a:pt x="845" y="896"/>
                  <a:pt x="845" y="896"/>
                  <a:pt x="845" y="896"/>
                </a:cubicBezTo>
                <a:cubicBezTo>
                  <a:pt x="870" y="896"/>
                  <a:pt x="891" y="880"/>
                  <a:pt x="899" y="856"/>
                </a:cubicBezTo>
                <a:cubicBezTo>
                  <a:pt x="906" y="833"/>
                  <a:pt x="897" y="807"/>
                  <a:pt x="876" y="793"/>
                </a:cubicBezTo>
                <a:close/>
                <a:moveTo>
                  <a:pt x="572" y="655"/>
                </a:moveTo>
                <a:cubicBezTo>
                  <a:pt x="563" y="667"/>
                  <a:pt x="563" y="667"/>
                  <a:pt x="563" y="667"/>
                </a:cubicBezTo>
                <a:cubicBezTo>
                  <a:pt x="497" y="743"/>
                  <a:pt x="409" y="743"/>
                  <a:pt x="343" y="667"/>
                </a:cubicBezTo>
                <a:cubicBezTo>
                  <a:pt x="334" y="655"/>
                  <a:pt x="334" y="655"/>
                  <a:pt x="334" y="655"/>
                </a:cubicBezTo>
                <a:cubicBezTo>
                  <a:pt x="256" y="556"/>
                  <a:pt x="217" y="426"/>
                  <a:pt x="234" y="301"/>
                </a:cubicBezTo>
                <a:cubicBezTo>
                  <a:pt x="249" y="181"/>
                  <a:pt x="317" y="56"/>
                  <a:pt x="453" y="56"/>
                </a:cubicBezTo>
                <a:cubicBezTo>
                  <a:pt x="589" y="56"/>
                  <a:pt x="657" y="181"/>
                  <a:pt x="672" y="301"/>
                </a:cubicBezTo>
                <a:cubicBezTo>
                  <a:pt x="689" y="426"/>
                  <a:pt x="651" y="556"/>
                  <a:pt x="572" y="655"/>
                </a:cubicBezTo>
                <a:close/>
                <a:moveTo>
                  <a:pt x="61" y="840"/>
                </a:moveTo>
                <a:cubicBezTo>
                  <a:pt x="65" y="837"/>
                  <a:pt x="160" y="775"/>
                  <a:pt x="301" y="745"/>
                </a:cubicBezTo>
                <a:cubicBezTo>
                  <a:pt x="371" y="730"/>
                  <a:pt x="371" y="730"/>
                  <a:pt x="371" y="730"/>
                </a:cubicBezTo>
                <a:cubicBezTo>
                  <a:pt x="396" y="746"/>
                  <a:pt x="423" y="756"/>
                  <a:pt x="453" y="756"/>
                </a:cubicBezTo>
                <a:cubicBezTo>
                  <a:pt x="483" y="756"/>
                  <a:pt x="510" y="746"/>
                  <a:pt x="535" y="730"/>
                </a:cubicBezTo>
                <a:cubicBezTo>
                  <a:pt x="605" y="745"/>
                  <a:pt x="605" y="745"/>
                  <a:pt x="605" y="745"/>
                </a:cubicBezTo>
                <a:cubicBezTo>
                  <a:pt x="745" y="775"/>
                  <a:pt x="840" y="836"/>
                  <a:pt x="845" y="840"/>
                </a:cubicBezTo>
                <a:lnTo>
                  <a:pt x="61" y="840"/>
                </a:lnTo>
                <a:close/>
              </a:path>
            </a:pathLst>
          </a:custGeom>
          <a:solidFill>
            <a:schemeClr val="tx1">
              <a:lumMod val="95000"/>
              <a:lumOff val="5000"/>
            </a:schemeClr>
          </a:solidFill>
          <a:ln>
            <a:noFill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id-ID"/>
          </a:p>
        </p:txBody>
      </p:sp>
      <p:grpSp>
        <p:nvGrpSpPr>
          <p:cNvPr id="28" name="Group 27"/>
          <p:cNvGrpSpPr/>
          <p:nvPr/>
        </p:nvGrpSpPr>
        <p:grpSpPr>
          <a:xfrm>
            <a:off x="7640633" y="2943745"/>
            <a:ext cx="608054" cy="610200"/>
            <a:chOff x="2032329" y="3781350"/>
            <a:chExt cx="412045" cy="413501"/>
          </a:xfrm>
          <a:solidFill>
            <a:schemeClr val="tx1">
              <a:lumMod val="95000"/>
              <a:lumOff val="5000"/>
            </a:schemeClr>
          </a:solidFill>
        </p:grpSpPr>
        <p:sp>
          <p:nvSpPr>
            <p:cNvPr id="29" name="Freeform 414"/>
            <p:cNvSpPr>
              <a:spLocks noEditPoints="1"/>
            </p:cNvSpPr>
            <p:nvPr/>
          </p:nvSpPr>
          <p:spPr bwMode="auto">
            <a:xfrm>
              <a:off x="2032329" y="3781350"/>
              <a:ext cx="412045" cy="413501"/>
            </a:xfrm>
            <a:custGeom>
              <a:avLst/>
              <a:gdLst>
                <a:gd name="T0" fmla="*/ 201 w 850"/>
                <a:gd name="T1" fmla="*/ 808 h 850"/>
                <a:gd name="T2" fmla="*/ 260 w 850"/>
                <a:gd name="T3" fmla="*/ 781 h 850"/>
                <a:gd name="T4" fmla="*/ 294 w 850"/>
                <a:gd name="T5" fmla="*/ 739 h 850"/>
                <a:gd name="T6" fmla="*/ 309 w 850"/>
                <a:gd name="T7" fmla="*/ 693 h 850"/>
                <a:gd name="T8" fmla="*/ 306 w 850"/>
                <a:gd name="T9" fmla="*/ 643 h 850"/>
                <a:gd name="T10" fmla="*/ 298 w 850"/>
                <a:gd name="T11" fmla="*/ 607 h 850"/>
                <a:gd name="T12" fmla="*/ 618 w 850"/>
                <a:gd name="T13" fmla="*/ 297 h 850"/>
                <a:gd name="T14" fmla="*/ 676 w 850"/>
                <a:gd name="T15" fmla="*/ 310 h 850"/>
                <a:gd name="T16" fmla="*/ 739 w 850"/>
                <a:gd name="T17" fmla="*/ 294 h 850"/>
                <a:gd name="T18" fmla="*/ 792 w 850"/>
                <a:gd name="T19" fmla="*/ 244 h 850"/>
                <a:gd name="T20" fmla="*/ 811 w 850"/>
                <a:gd name="T21" fmla="*/ 167 h 850"/>
                <a:gd name="T22" fmla="*/ 748 w 850"/>
                <a:gd name="T23" fmla="*/ 206 h 850"/>
                <a:gd name="T24" fmla="*/ 651 w 850"/>
                <a:gd name="T25" fmla="*/ 203 h 850"/>
                <a:gd name="T26" fmla="*/ 643 w 850"/>
                <a:gd name="T27" fmla="*/ 188 h 850"/>
                <a:gd name="T28" fmla="*/ 648 w 850"/>
                <a:gd name="T29" fmla="*/ 93 h 850"/>
                <a:gd name="T30" fmla="*/ 650 w 850"/>
                <a:gd name="T31" fmla="*/ 42 h 850"/>
                <a:gd name="T32" fmla="*/ 591 w 850"/>
                <a:gd name="T33" fmla="*/ 70 h 850"/>
                <a:gd name="T34" fmla="*/ 556 w 850"/>
                <a:gd name="T35" fmla="*/ 111 h 850"/>
                <a:gd name="T36" fmla="*/ 542 w 850"/>
                <a:gd name="T37" fmla="*/ 159 h 850"/>
                <a:gd name="T38" fmla="*/ 545 w 850"/>
                <a:gd name="T39" fmla="*/ 208 h 850"/>
                <a:gd name="T40" fmla="*/ 550 w 850"/>
                <a:gd name="T41" fmla="*/ 244 h 850"/>
                <a:gd name="T42" fmla="*/ 232 w 850"/>
                <a:gd name="T43" fmla="*/ 553 h 850"/>
                <a:gd name="T44" fmla="*/ 173 w 850"/>
                <a:gd name="T45" fmla="*/ 542 h 850"/>
                <a:gd name="T46" fmla="*/ 110 w 850"/>
                <a:gd name="T47" fmla="*/ 558 h 850"/>
                <a:gd name="T48" fmla="*/ 58 w 850"/>
                <a:gd name="T49" fmla="*/ 607 h 850"/>
                <a:gd name="T50" fmla="*/ 39 w 850"/>
                <a:gd name="T51" fmla="*/ 685 h 850"/>
                <a:gd name="T52" fmla="*/ 103 w 850"/>
                <a:gd name="T53" fmla="*/ 644 h 850"/>
                <a:gd name="T54" fmla="*/ 199 w 850"/>
                <a:gd name="T55" fmla="*/ 647 h 850"/>
                <a:gd name="T56" fmla="*/ 206 w 850"/>
                <a:gd name="T57" fmla="*/ 663 h 850"/>
                <a:gd name="T58" fmla="*/ 202 w 850"/>
                <a:gd name="T59" fmla="*/ 758 h 850"/>
                <a:gd name="T60" fmla="*/ 123 w 850"/>
                <a:gd name="T61" fmla="*/ 843 h 850"/>
                <a:gd name="T62" fmla="*/ 95 w 850"/>
                <a:gd name="T63" fmla="*/ 823 h 850"/>
                <a:gd name="T64" fmla="*/ 169 w 850"/>
                <a:gd name="T65" fmla="*/ 736 h 850"/>
                <a:gd name="T66" fmla="*/ 38 w 850"/>
                <a:gd name="T67" fmla="*/ 755 h 850"/>
                <a:gd name="T68" fmla="*/ 16 w 850"/>
                <a:gd name="T69" fmla="*/ 748 h 850"/>
                <a:gd name="T70" fmla="*/ 0 w 850"/>
                <a:gd name="T71" fmla="*/ 695 h 850"/>
                <a:gd name="T72" fmla="*/ 6 w 850"/>
                <a:gd name="T73" fmla="*/ 631 h 850"/>
                <a:gd name="T74" fmla="*/ 34 w 850"/>
                <a:gd name="T75" fmla="*/ 574 h 850"/>
                <a:gd name="T76" fmla="*/ 93 w 850"/>
                <a:gd name="T77" fmla="*/ 523 h 850"/>
                <a:gd name="T78" fmla="*/ 173 w 850"/>
                <a:gd name="T79" fmla="*/ 503 h 850"/>
                <a:gd name="T80" fmla="*/ 512 w 850"/>
                <a:gd name="T81" fmla="*/ 229 h 850"/>
                <a:gd name="T82" fmla="*/ 502 w 850"/>
                <a:gd name="T83" fmla="*/ 170 h 850"/>
                <a:gd name="T84" fmla="*/ 513 w 850"/>
                <a:gd name="T85" fmla="*/ 113 h 850"/>
                <a:gd name="T86" fmla="*/ 545 w 850"/>
                <a:gd name="T87" fmla="*/ 61 h 850"/>
                <a:gd name="T88" fmla="*/ 610 w 850"/>
                <a:gd name="T89" fmla="*/ 13 h 850"/>
                <a:gd name="T90" fmla="*/ 693 w 850"/>
                <a:gd name="T91" fmla="*/ 2 h 850"/>
                <a:gd name="T92" fmla="*/ 751 w 850"/>
                <a:gd name="T93" fmla="*/ 21 h 850"/>
                <a:gd name="T94" fmla="*/ 754 w 850"/>
                <a:gd name="T95" fmla="*/ 42 h 850"/>
                <a:gd name="T96" fmla="*/ 804 w 850"/>
                <a:gd name="T97" fmla="*/ 100 h 850"/>
                <a:gd name="T98" fmla="*/ 827 w 850"/>
                <a:gd name="T99" fmla="*/ 97 h 850"/>
                <a:gd name="T100" fmla="*/ 844 w 850"/>
                <a:gd name="T101" fmla="*/ 131 h 850"/>
                <a:gd name="T102" fmla="*/ 849 w 850"/>
                <a:gd name="T103" fmla="*/ 195 h 850"/>
                <a:gd name="T104" fmla="*/ 830 w 850"/>
                <a:gd name="T105" fmla="*/ 255 h 850"/>
                <a:gd name="T106" fmla="*/ 787 w 850"/>
                <a:gd name="T107" fmla="*/ 309 h 850"/>
                <a:gd name="T108" fmla="*/ 710 w 850"/>
                <a:gd name="T109" fmla="*/ 345 h 850"/>
                <a:gd name="T110" fmla="*/ 634 w 850"/>
                <a:gd name="T111" fmla="*/ 343 h 850"/>
                <a:gd name="T112" fmla="*/ 346 w 850"/>
                <a:gd name="T113" fmla="*/ 657 h 850"/>
                <a:gd name="T114" fmla="*/ 343 w 850"/>
                <a:gd name="T115" fmla="*/ 716 h 850"/>
                <a:gd name="T116" fmla="*/ 320 w 850"/>
                <a:gd name="T117" fmla="*/ 771 h 850"/>
                <a:gd name="T118" fmla="*/ 270 w 850"/>
                <a:gd name="T119" fmla="*/ 821 h 850"/>
                <a:gd name="T120" fmla="*/ 192 w 850"/>
                <a:gd name="T121" fmla="*/ 850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50" h="850">
                  <a:moveTo>
                    <a:pt x="150" y="810"/>
                  </a:moveTo>
                  <a:lnTo>
                    <a:pt x="162" y="811"/>
                  </a:lnTo>
                  <a:lnTo>
                    <a:pt x="175" y="811"/>
                  </a:lnTo>
                  <a:lnTo>
                    <a:pt x="188" y="811"/>
                  </a:lnTo>
                  <a:lnTo>
                    <a:pt x="201" y="808"/>
                  </a:lnTo>
                  <a:lnTo>
                    <a:pt x="214" y="806"/>
                  </a:lnTo>
                  <a:lnTo>
                    <a:pt x="226" y="801"/>
                  </a:lnTo>
                  <a:lnTo>
                    <a:pt x="238" y="795"/>
                  </a:lnTo>
                  <a:lnTo>
                    <a:pt x="250" y="790"/>
                  </a:lnTo>
                  <a:lnTo>
                    <a:pt x="260" y="781"/>
                  </a:lnTo>
                  <a:lnTo>
                    <a:pt x="270" y="772"/>
                  </a:lnTo>
                  <a:lnTo>
                    <a:pt x="277" y="765"/>
                  </a:lnTo>
                  <a:lnTo>
                    <a:pt x="283" y="757"/>
                  </a:lnTo>
                  <a:lnTo>
                    <a:pt x="288" y="748"/>
                  </a:lnTo>
                  <a:lnTo>
                    <a:pt x="294" y="739"/>
                  </a:lnTo>
                  <a:lnTo>
                    <a:pt x="298" y="731"/>
                  </a:lnTo>
                  <a:lnTo>
                    <a:pt x="301" y="722"/>
                  </a:lnTo>
                  <a:lnTo>
                    <a:pt x="304" y="712"/>
                  </a:lnTo>
                  <a:lnTo>
                    <a:pt x="307" y="702"/>
                  </a:lnTo>
                  <a:lnTo>
                    <a:pt x="309" y="693"/>
                  </a:lnTo>
                  <a:lnTo>
                    <a:pt x="309" y="683"/>
                  </a:lnTo>
                  <a:lnTo>
                    <a:pt x="309" y="673"/>
                  </a:lnTo>
                  <a:lnTo>
                    <a:pt x="309" y="663"/>
                  </a:lnTo>
                  <a:lnTo>
                    <a:pt x="307" y="653"/>
                  </a:lnTo>
                  <a:lnTo>
                    <a:pt x="306" y="643"/>
                  </a:lnTo>
                  <a:lnTo>
                    <a:pt x="301" y="634"/>
                  </a:lnTo>
                  <a:lnTo>
                    <a:pt x="298" y="624"/>
                  </a:lnTo>
                  <a:lnTo>
                    <a:pt x="297" y="618"/>
                  </a:lnTo>
                  <a:lnTo>
                    <a:pt x="297" y="613"/>
                  </a:lnTo>
                  <a:lnTo>
                    <a:pt x="298" y="607"/>
                  </a:lnTo>
                  <a:lnTo>
                    <a:pt x="303" y="602"/>
                  </a:lnTo>
                  <a:lnTo>
                    <a:pt x="602" y="303"/>
                  </a:lnTo>
                  <a:lnTo>
                    <a:pt x="607" y="300"/>
                  </a:lnTo>
                  <a:lnTo>
                    <a:pt x="612" y="297"/>
                  </a:lnTo>
                  <a:lnTo>
                    <a:pt x="618" y="297"/>
                  </a:lnTo>
                  <a:lnTo>
                    <a:pt x="624" y="299"/>
                  </a:lnTo>
                  <a:lnTo>
                    <a:pt x="635" y="303"/>
                  </a:lnTo>
                  <a:lnTo>
                    <a:pt x="650" y="307"/>
                  </a:lnTo>
                  <a:lnTo>
                    <a:pt x="663" y="309"/>
                  </a:lnTo>
                  <a:lnTo>
                    <a:pt x="676" y="310"/>
                  </a:lnTo>
                  <a:lnTo>
                    <a:pt x="690" y="309"/>
                  </a:lnTo>
                  <a:lnTo>
                    <a:pt x="703" y="307"/>
                  </a:lnTo>
                  <a:lnTo>
                    <a:pt x="716" y="304"/>
                  </a:lnTo>
                  <a:lnTo>
                    <a:pt x="728" y="300"/>
                  </a:lnTo>
                  <a:lnTo>
                    <a:pt x="739" y="294"/>
                  </a:lnTo>
                  <a:lnTo>
                    <a:pt x="751" y="287"/>
                  </a:lnTo>
                  <a:lnTo>
                    <a:pt x="762" y="278"/>
                  </a:lnTo>
                  <a:lnTo>
                    <a:pt x="772" y="270"/>
                  </a:lnTo>
                  <a:lnTo>
                    <a:pt x="782" y="258"/>
                  </a:lnTo>
                  <a:lnTo>
                    <a:pt x="792" y="244"/>
                  </a:lnTo>
                  <a:lnTo>
                    <a:pt x="800" y="229"/>
                  </a:lnTo>
                  <a:lnTo>
                    <a:pt x="805" y="215"/>
                  </a:lnTo>
                  <a:lnTo>
                    <a:pt x="810" y="199"/>
                  </a:lnTo>
                  <a:lnTo>
                    <a:pt x="811" y="183"/>
                  </a:lnTo>
                  <a:lnTo>
                    <a:pt x="811" y="167"/>
                  </a:lnTo>
                  <a:lnTo>
                    <a:pt x="810" y="150"/>
                  </a:lnTo>
                  <a:lnTo>
                    <a:pt x="758" y="202"/>
                  </a:lnTo>
                  <a:lnTo>
                    <a:pt x="755" y="203"/>
                  </a:lnTo>
                  <a:lnTo>
                    <a:pt x="752" y="206"/>
                  </a:lnTo>
                  <a:lnTo>
                    <a:pt x="748" y="206"/>
                  </a:lnTo>
                  <a:lnTo>
                    <a:pt x="745" y="208"/>
                  </a:lnTo>
                  <a:lnTo>
                    <a:pt x="663" y="208"/>
                  </a:lnTo>
                  <a:lnTo>
                    <a:pt x="658" y="206"/>
                  </a:lnTo>
                  <a:lnTo>
                    <a:pt x="656" y="206"/>
                  </a:lnTo>
                  <a:lnTo>
                    <a:pt x="651" y="203"/>
                  </a:lnTo>
                  <a:lnTo>
                    <a:pt x="648" y="202"/>
                  </a:lnTo>
                  <a:lnTo>
                    <a:pt x="647" y="199"/>
                  </a:lnTo>
                  <a:lnTo>
                    <a:pt x="644" y="196"/>
                  </a:lnTo>
                  <a:lnTo>
                    <a:pt x="644" y="192"/>
                  </a:lnTo>
                  <a:lnTo>
                    <a:pt x="643" y="188"/>
                  </a:lnTo>
                  <a:lnTo>
                    <a:pt x="643" y="106"/>
                  </a:lnTo>
                  <a:lnTo>
                    <a:pt x="644" y="103"/>
                  </a:lnTo>
                  <a:lnTo>
                    <a:pt x="644" y="98"/>
                  </a:lnTo>
                  <a:lnTo>
                    <a:pt x="647" y="95"/>
                  </a:lnTo>
                  <a:lnTo>
                    <a:pt x="648" y="93"/>
                  </a:lnTo>
                  <a:lnTo>
                    <a:pt x="700" y="41"/>
                  </a:lnTo>
                  <a:lnTo>
                    <a:pt x="689" y="39"/>
                  </a:lnTo>
                  <a:lnTo>
                    <a:pt x="676" y="39"/>
                  </a:lnTo>
                  <a:lnTo>
                    <a:pt x="663" y="39"/>
                  </a:lnTo>
                  <a:lnTo>
                    <a:pt x="650" y="42"/>
                  </a:lnTo>
                  <a:lnTo>
                    <a:pt x="637" y="45"/>
                  </a:lnTo>
                  <a:lnTo>
                    <a:pt x="624" y="49"/>
                  </a:lnTo>
                  <a:lnTo>
                    <a:pt x="612" y="55"/>
                  </a:lnTo>
                  <a:lnTo>
                    <a:pt x="601" y="62"/>
                  </a:lnTo>
                  <a:lnTo>
                    <a:pt x="591" y="70"/>
                  </a:lnTo>
                  <a:lnTo>
                    <a:pt x="581" y="78"/>
                  </a:lnTo>
                  <a:lnTo>
                    <a:pt x="574" y="87"/>
                  </a:lnTo>
                  <a:lnTo>
                    <a:pt x="568" y="94"/>
                  </a:lnTo>
                  <a:lnTo>
                    <a:pt x="562" y="103"/>
                  </a:lnTo>
                  <a:lnTo>
                    <a:pt x="556" y="111"/>
                  </a:lnTo>
                  <a:lnTo>
                    <a:pt x="552" y="120"/>
                  </a:lnTo>
                  <a:lnTo>
                    <a:pt x="549" y="130"/>
                  </a:lnTo>
                  <a:lnTo>
                    <a:pt x="546" y="139"/>
                  </a:lnTo>
                  <a:lnTo>
                    <a:pt x="543" y="149"/>
                  </a:lnTo>
                  <a:lnTo>
                    <a:pt x="542" y="159"/>
                  </a:lnTo>
                  <a:lnTo>
                    <a:pt x="540" y="167"/>
                  </a:lnTo>
                  <a:lnTo>
                    <a:pt x="540" y="178"/>
                  </a:lnTo>
                  <a:lnTo>
                    <a:pt x="542" y="188"/>
                  </a:lnTo>
                  <a:lnTo>
                    <a:pt x="543" y="198"/>
                  </a:lnTo>
                  <a:lnTo>
                    <a:pt x="545" y="208"/>
                  </a:lnTo>
                  <a:lnTo>
                    <a:pt x="548" y="218"/>
                  </a:lnTo>
                  <a:lnTo>
                    <a:pt x="552" y="227"/>
                  </a:lnTo>
                  <a:lnTo>
                    <a:pt x="553" y="232"/>
                  </a:lnTo>
                  <a:lnTo>
                    <a:pt x="553" y="238"/>
                  </a:lnTo>
                  <a:lnTo>
                    <a:pt x="550" y="244"/>
                  </a:lnTo>
                  <a:lnTo>
                    <a:pt x="548" y="248"/>
                  </a:lnTo>
                  <a:lnTo>
                    <a:pt x="248" y="548"/>
                  </a:lnTo>
                  <a:lnTo>
                    <a:pt x="244" y="552"/>
                  </a:lnTo>
                  <a:lnTo>
                    <a:pt x="238" y="553"/>
                  </a:lnTo>
                  <a:lnTo>
                    <a:pt x="232" y="553"/>
                  </a:lnTo>
                  <a:lnTo>
                    <a:pt x="226" y="552"/>
                  </a:lnTo>
                  <a:lnTo>
                    <a:pt x="214" y="548"/>
                  </a:lnTo>
                  <a:lnTo>
                    <a:pt x="201" y="545"/>
                  </a:lnTo>
                  <a:lnTo>
                    <a:pt x="188" y="542"/>
                  </a:lnTo>
                  <a:lnTo>
                    <a:pt x="173" y="542"/>
                  </a:lnTo>
                  <a:lnTo>
                    <a:pt x="160" y="542"/>
                  </a:lnTo>
                  <a:lnTo>
                    <a:pt x="147" y="543"/>
                  </a:lnTo>
                  <a:lnTo>
                    <a:pt x="134" y="548"/>
                  </a:lnTo>
                  <a:lnTo>
                    <a:pt x="123" y="552"/>
                  </a:lnTo>
                  <a:lnTo>
                    <a:pt x="110" y="558"/>
                  </a:lnTo>
                  <a:lnTo>
                    <a:pt x="98" y="564"/>
                  </a:lnTo>
                  <a:lnTo>
                    <a:pt x="88" y="572"/>
                  </a:lnTo>
                  <a:lnTo>
                    <a:pt x="78" y="581"/>
                  </a:lnTo>
                  <a:lnTo>
                    <a:pt x="67" y="594"/>
                  </a:lnTo>
                  <a:lnTo>
                    <a:pt x="58" y="607"/>
                  </a:lnTo>
                  <a:lnTo>
                    <a:pt x="51" y="621"/>
                  </a:lnTo>
                  <a:lnTo>
                    <a:pt x="45" y="637"/>
                  </a:lnTo>
                  <a:lnTo>
                    <a:pt x="41" y="651"/>
                  </a:lnTo>
                  <a:lnTo>
                    <a:pt x="39" y="669"/>
                  </a:lnTo>
                  <a:lnTo>
                    <a:pt x="39" y="685"/>
                  </a:lnTo>
                  <a:lnTo>
                    <a:pt x="41" y="700"/>
                  </a:lnTo>
                  <a:lnTo>
                    <a:pt x="93" y="650"/>
                  </a:lnTo>
                  <a:lnTo>
                    <a:pt x="95" y="647"/>
                  </a:lnTo>
                  <a:lnTo>
                    <a:pt x="98" y="646"/>
                  </a:lnTo>
                  <a:lnTo>
                    <a:pt x="103" y="644"/>
                  </a:lnTo>
                  <a:lnTo>
                    <a:pt x="106" y="644"/>
                  </a:lnTo>
                  <a:lnTo>
                    <a:pt x="188" y="644"/>
                  </a:lnTo>
                  <a:lnTo>
                    <a:pt x="192" y="644"/>
                  </a:lnTo>
                  <a:lnTo>
                    <a:pt x="195" y="646"/>
                  </a:lnTo>
                  <a:lnTo>
                    <a:pt x="199" y="647"/>
                  </a:lnTo>
                  <a:lnTo>
                    <a:pt x="202" y="650"/>
                  </a:lnTo>
                  <a:lnTo>
                    <a:pt x="203" y="653"/>
                  </a:lnTo>
                  <a:lnTo>
                    <a:pt x="205" y="656"/>
                  </a:lnTo>
                  <a:lnTo>
                    <a:pt x="206" y="659"/>
                  </a:lnTo>
                  <a:lnTo>
                    <a:pt x="206" y="663"/>
                  </a:lnTo>
                  <a:lnTo>
                    <a:pt x="206" y="745"/>
                  </a:lnTo>
                  <a:lnTo>
                    <a:pt x="206" y="749"/>
                  </a:lnTo>
                  <a:lnTo>
                    <a:pt x="205" y="752"/>
                  </a:lnTo>
                  <a:lnTo>
                    <a:pt x="203" y="755"/>
                  </a:lnTo>
                  <a:lnTo>
                    <a:pt x="202" y="758"/>
                  </a:lnTo>
                  <a:lnTo>
                    <a:pt x="150" y="810"/>
                  </a:lnTo>
                  <a:close/>
                  <a:moveTo>
                    <a:pt x="175" y="850"/>
                  </a:moveTo>
                  <a:lnTo>
                    <a:pt x="156" y="850"/>
                  </a:lnTo>
                  <a:lnTo>
                    <a:pt x="140" y="847"/>
                  </a:lnTo>
                  <a:lnTo>
                    <a:pt x="123" y="843"/>
                  </a:lnTo>
                  <a:lnTo>
                    <a:pt x="106" y="837"/>
                  </a:lnTo>
                  <a:lnTo>
                    <a:pt x="103" y="834"/>
                  </a:lnTo>
                  <a:lnTo>
                    <a:pt x="98" y="831"/>
                  </a:lnTo>
                  <a:lnTo>
                    <a:pt x="97" y="827"/>
                  </a:lnTo>
                  <a:lnTo>
                    <a:pt x="95" y="823"/>
                  </a:lnTo>
                  <a:lnTo>
                    <a:pt x="94" y="817"/>
                  </a:lnTo>
                  <a:lnTo>
                    <a:pt x="95" y="813"/>
                  </a:lnTo>
                  <a:lnTo>
                    <a:pt x="97" y="808"/>
                  </a:lnTo>
                  <a:lnTo>
                    <a:pt x="100" y="806"/>
                  </a:lnTo>
                  <a:lnTo>
                    <a:pt x="169" y="736"/>
                  </a:lnTo>
                  <a:lnTo>
                    <a:pt x="169" y="682"/>
                  </a:lnTo>
                  <a:lnTo>
                    <a:pt x="114" y="682"/>
                  </a:lnTo>
                  <a:lnTo>
                    <a:pt x="45" y="751"/>
                  </a:lnTo>
                  <a:lnTo>
                    <a:pt x="42" y="754"/>
                  </a:lnTo>
                  <a:lnTo>
                    <a:pt x="38" y="755"/>
                  </a:lnTo>
                  <a:lnTo>
                    <a:pt x="34" y="757"/>
                  </a:lnTo>
                  <a:lnTo>
                    <a:pt x="28" y="755"/>
                  </a:lnTo>
                  <a:lnTo>
                    <a:pt x="23" y="754"/>
                  </a:lnTo>
                  <a:lnTo>
                    <a:pt x="19" y="752"/>
                  </a:lnTo>
                  <a:lnTo>
                    <a:pt x="16" y="748"/>
                  </a:lnTo>
                  <a:lnTo>
                    <a:pt x="13" y="745"/>
                  </a:lnTo>
                  <a:lnTo>
                    <a:pt x="9" y="732"/>
                  </a:lnTo>
                  <a:lnTo>
                    <a:pt x="6" y="719"/>
                  </a:lnTo>
                  <a:lnTo>
                    <a:pt x="3" y="706"/>
                  </a:lnTo>
                  <a:lnTo>
                    <a:pt x="0" y="695"/>
                  </a:lnTo>
                  <a:lnTo>
                    <a:pt x="0" y="682"/>
                  </a:lnTo>
                  <a:lnTo>
                    <a:pt x="0" y="669"/>
                  </a:lnTo>
                  <a:lnTo>
                    <a:pt x="2" y="656"/>
                  </a:lnTo>
                  <a:lnTo>
                    <a:pt x="3" y="643"/>
                  </a:lnTo>
                  <a:lnTo>
                    <a:pt x="6" y="631"/>
                  </a:lnTo>
                  <a:lnTo>
                    <a:pt x="10" y="618"/>
                  </a:lnTo>
                  <a:lnTo>
                    <a:pt x="15" y="607"/>
                  </a:lnTo>
                  <a:lnTo>
                    <a:pt x="21" y="595"/>
                  </a:lnTo>
                  <a:lnTo>
                    <a:pt x="26" y="584"/>
                  </a:lnTo>
                  <a:lnTo>
                    <a:pt x="34" y="574"/>
                  </a:lnTo>
                  <a:lnTo>
                    <a:pt x="42" y="564"/>
                  </a:lnTo>
                  <a:lnTo>
                    <a:pt x="51" y="553"/>
                  </a:lnTo>
                  <a:lnTo>
                    <a:pt x="64" y="542"/>
                  </a:lnTo>
                  <a:lnTo>
                    <a:pt x="78" y="532"/>
                  </a:lnTo>
                  <a:lnTo>
                    <a:pt x="93" y="523"/>
                  </a:lnTo>
                  <a:lnTo>
                    <a:pt x="107" y="516"/>
                  </a:lnTo>
                  <a:lnTo>
                    <a:pt x="123" y="510"/>
                  </a:lnTo>
                  <a:lnTo>
                    <a:pt x="140" y="506"/>
                  </a:lnTo>
                  <a:lnTo>
                    <a:pt x="156" y="503"/>
                  </a:lnTo>
                  <a:lnTo>
                    <a:pt x="173" y="503"/>
                  </a:lnTo>
                  <a:lnTo>
                    <a:pt x="188" y="503"/>
                  </a:lnTo>
                  <a:lnTo>
                    <a:pt x="202" y="504"/>
                  </a:lnTo>
                  <a:lnTo>
                    <a:pt x="216" y="507"/>
                  </a:lnTo>
                  <a:lnTo>
                    <a:pt x="229" y="512"/>
                  </a:lnTo>
                  <a:lnTo>
                    <a:pt x="512" y="229"/>
                  </a:lnTo>
                  <a:lnTo>
                    <a:pt x="507" y="218"/>
                  </a:lnTo>
                  <a:lnTo>
                    <a:pt x="506" y="206"/>
                  </a:lnTo>
                  <a:lnTo>
                    <a:pt x="503" y="195"/>
                  </a:lnTo>
                  <a:lnTo>
                    <a:pt x="503" y="182"/>
                  </a:lnTo>
                  <a:lnTo>
                    <a:pt x="502" y="170"/>
                  </a:lnTo>
                  <a:lnTo>
                    <a:pt x="503" y="159"/>
                  </a:lnTo>
                  <a:lnTo>
                    <a:pt x="504" y="147"/>
                  </a:lnTo>
                  <a:lnTo>
                    <a:pt x="507" y="134"/>
                  </a:lnTo>
                  <a:lnTo>
                    <a:pt x="510" y="123"/>
                  </a:lnTo>
                  <a:lnTo>
                    <a:pt x="513" y="113"/>
                  </a:lnTo>
                  <a:lnTo>
                    <a:pt x="519" y="101"/>
                  </a:lnTo>
                  <a:lnTo>
                    <a:pt x="523" y="91"/>
                  </a:lnTo>
                  <a:lnTo>
                    <a:pt x="530" y="80"/>
                  </a:lnTo>
                  <a:lnTo>
                    <a:pt x="538" y="70"/>
                  </a:lnTo>
                  <a:lnTo>
                    <a:pt x="545" y="61"/>
                  </a:lnTo>
                  <a:lnTo>
                    <a:pt x="553" y="51"/>
                  </a:lnTo>
                  <a:lnTo>
                    <a:pt x="566" y="39"/>
                  </a:lnTo>
                  <a:lnTo>
                    <a:pt x="579" y="29"/>
                  </a:lnTo>
                  <a:lnTo>
                    <a:pt x="594" y="21"/>
                  </a:lnTo>
                  <a:lnTo>
                    <a:pt x="610" y="13"/>
                  </a:lnTo>
                  <a:lnTo>
                    <a:pt x="625" y="8"/>
                  </a:lnTo>
                  <a:lnTo>
                    <a:pt x="641" y="3"/>
                  </a:lnTo>
                  <a:lnTo>
                    <a:pt x="658" y="2"/>
                  </a:lnTo>
                  <a:lnTo>
                    <a:pt x="676" y="0"/>
                  </a:lnTo>
                  <a:lnTo>
                    <a:pt x="693" y="2"/>
                  </a:lnTo>
                  <a:lnTo>
                    <a:pt x="710" y="5"/>
                  </a:lnTo>
                  <a:lnTo>
                    <a:pt x="728" y="9"/>
                  </a:lnTo>
                  <a:lnTo>
                    <a:pt x="743" y="15"/>
                  </a:lnTo>
                  <a:lnTo>
                    <a:pt x="748" y="16"/>
                  </a:lnTo>
                  <a:lnTo>
                    <a:pt x="751" y="21"/>
                  </a:lnTo>
                  <a:lnTo>
                    <a:pt x="754" y="23"/>
                  </a:lnTo>
                  <a:lnTo>
                    <a:pt x="755" y="29"/>
                  </a:lnTo>
                  <a:lnTo>
                    <a:pt x="755" y="34"/>
                  </a:lnTo>
                  <a:lnTo>
                    <a:pt x="755" y="38"/>
                  </a:lnTo>
                  <a:lnTo>
                    <a:pt x="754" y="42"/>
                  </a:lnTo>
                  <a:lnTo>
                    <a:pt x="751" y="46"/>
                  </a:lnTo>
                  <a:lnTo>
                    <a:pt x="682" y="114"/>
                  </a:lnTo>
                  <a:lnTo>
                    <a:pt x="682" y="169"/>
                  </a:lnTo>
                  <a:lnTo>
                    <a:pt x="736" y="169"/>
                  </a:lnTo>
                  <a:lnTo>
                    <a:pt x="804" y="100"/>
                  </a:lnTo>
                  <a:lnTo>
                    <a:pt x="808" y="97"/>
                  </a:lnTo>
                  <a:lnTo>
                    <a:pt x="813" y="95"/>
                  </a:lnTo>
                  <a:lnTo>
                    <a:pt x="817" y="95"/>
                  </a:lnTo>
                  <a:lnTo>
                    <a:pt x="821" y="95"/>
                  </a:lnTo>
                  <a:lnTo>
                    <a:pt x="827" y="97"/>
                  </a:lnTo>
                  <a:lnTo>
                    <a:pt x="830" y="100"/>
                  </a:lnTo>
                  <a:lnTo>
                    <a:pt x="834" y="103"/>
                  </a:lnTo>
                  <a:lnTo>
                    <a:pt x="836" y="107"/>
                  </a:lnTo>
                  <a:lnTo>
                    <a:pt x="841" y="118"/>
                  </a:lnTo>
                  <a:lnTo>
                    <a:pt x="844" y="131"/>
                  </a:lnTo>
                  <a:lnTo>
                    <a:pt x="847" y="144"/>
                  </a:lnTo>
                  <a:lnTo>
                    <a:pt x="849" y="157"/>
                  </a:lnTo>
                  <a:lnTo>
                    <a:pt x="850" y="170"/>
                  </a:lnTo>
                  <a:lnTo>
                    <a:pt x="850" y="182"/>
                  </a:lnTo>
                  <a:lnTo>
                    <a:pt x="849" y="195"/>
                  </a:lnTo>
                  <a:lnTo>
                    <a:pt x="847" y="208"/>
                  </a:lnTo>
                  <a:lnTo>
                    <a:pt x="844" y="221"/>
                  </a:lnTo>
                  <a:lnTo>
                    <a:pt x="840" y="232"/>
                  </a:lnTo>
                  <a:lnTo>
                    <a:pt x="836" y="244"/>
                  </a:lnTo>
                  <a:lnTo>
                    <a:pt x="830" y="255"/>
                  </a:lnTo>
                  <a:lnTo>
                    <a:pt x="824" y="267"/>
                  </a:lnTo>
                  <a:lnTo>
                    <a:pt x="815" y="277"/>
                  </a:lnTo>
                  <a:lnTo>
                    <a:pt x="808" y="287"/>
                  </a:lnTo>
                  <a:lnTo>
                    <a:pt x="800" y="297"/>
                  </a:lnTo>
                  <a:lnTo>
                    <a:pt x="787" y="309"/>
                  </a:lnTo>
                  <a:lnTo>
                    <a:pt x="772" y="319"/>
                  </a:lnTo>
                  <a:lnTo>
                    <a:pt x="758" y="327"/>
                  </a:lnTo>
                  <a:lnTo>
                    <a:pt x="742" y="335"/>
                  </a:lnTo>
                  <a:lnTo>
                    <a:pt x="726" y="340"/>
                  </a:lnTo>
                  <a:lnTo>
                    <a:pt x="710" y="345"/>
                  </a:lnTo>
                  <a:lnTo>
                    <a:pt x="693" y="347"/>
                  </a:lnTo>
                  <a:lnTo>
                    <a:pt x="676" y="347"/>
                  </a:lnTo>
                  <a:lnTo>
                    <a:pt x="661" y="347"/>
                  </a:lnTo>
                  <a:lnTo>
                    <a:pt x="648" y="346"/>
                  </a:lnTo>
                  <a:lnTo>
                    <a:pt x="634" y="343"/>
                  </a:lnTo>
                  <a:lnTo>
                    <a:pt x="621" y="339"/>
                  </a:lnTo>
                  <a:lnTo>
                    <a:pt x="339" y="621"/>
                  </a:lnTo>
                  <a:lnTo>
                    <a:pt x="342" y="633"/>
                  </a:lnTo>
                  <a:lnTo>
                    <a:pt x="345" y="644"/>
                  </a:lnTo>
                  <a:lnTo>
                    <a:pt x="346" y="657"/>
                  </a:lnTo>
                  <a:lnTo>
                    <a:pt x="347" y="669"/>
                  </a:lnTo>
                  <a:lnTo>
                    <a:pt x="347" y="680"/>
                  </a:lnTo>
                  <a:lnTo>
                    <a:pt x="347" y="693"/>
                  </a:lnTo>
                  <a:lnTo>
                    <a:pt x="346" y="705"/>
                  </a:lnTo>
                  <a:lnTo>
                    <a:pt x="343" y="716"/>
                  </a:lnTo>
                  <a:lnTo>
                    <a:pt x="340" y="728"/>
                  </a:lnTo>
                  <a:lnTo>
                    <a:pt x="336" y="739"/>
                  </a:lnTo>
                  <a:lnTo>
                    <a:pt x="332" y="749"/>
                  </a:lnTo>
                  <a:lnTo>
                    <a:pt x="326" y="761"/>
                  </a:lnTo>
                  <a:lnTo>
                    <a:pt x="320" y="771"/>
                  </a:lnTo>
                  <a:lnTo>
                    <a:pt x="313" y="781"/>
                  </a:lnTo>
                  <a:lnTo>
                    <a:pt x="306" y="791"/>
                  </a:lnTo>
                  <a:lnTo>
                    <a:pt x="297" y="800"/>
                  </a:lnTo>
                  <a:lnTo>
                    <a:pt x="284" y="811"/>
                  </a:lnTo>
                  <a:lnTo>
                    <a:pt x="270" y="821"/>
                  </a:lnTo>
                  <a:lnTo>
                    <a:pt x="255" y="830"/>
                  </a:lnTo>
                  <a:lnTo>
                    <a:pt x="241" y="837"/>
                  </a:lnTo>
                  <a:lnTo>
                    <a:pt x="225" y="843"/>
                  </a:lnTo>
                  <a:lnTo>
                    <a:pt x="208" y="847"/>
                  </a:lnTo>
                  <a:lnTo>
                    <a:pt x="192" y="850"/>
                  </a:lnTo>
                  <a:lnTo>
                    <a:pt x="175" y="850"/>
                  </a:lnTo>
                  <a:close/>
                </a:path>
              </a:pathLst>
            </a:custGeom>
            <a:grpFill/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30" name="Freeform 415"/>
            <p:cNvSpPr>
              <a:spLocks noEditPoints="1"/>
            </p:cNvSpPr>
            <p:nvPr/>
          </p:nvSpPr>
          <p:spPr bwMode="auto">
            <a:xfrm>
              <a:off x="2291495" y="4041972"/>
              <a:ext cx="152879" cy="152879"/>
            </a:xfrm>
            <a:custGeom>
              <a:avLst/>
              <a:gdLst>
                <a:gd name="T0" fmla="*/ 210 w 315"/>
                <a:gd name="T1" fmla="*/ 265 h 315"/>
                <a:gd name="T2" fmla="*/ 223 w 315"/>
                <a:gd name="T3" fmla="*/ 273 h 315"/>
                <a:gd name="T4" fmla="*/ 237 w 315"/>
                <a:gd name="T5" fmla="*/ 276 h 315"/>
                <a:gd name="T6" fmla="*/ 252 w 315"/>
                <a:gd name="T7" fmla="*/ 273 h 315"/>
                <a:gd name="T8" fmla="*/ 265 w 315"/>
                <a:gd name="T9" fmla="*/ 265 h 315"/>
                <a:gd name="T10" fmla="*/ 273 w 315"/>
                <a:gd name="T11" fmla="*/ 253 h 315"/>
                <a:gd name="T12" fmla="*/ 276 w 315"/>
                <a:gd name="T13" fmla="*/ 237 h 315"/>
                <a:gd name="T14" fmla="*/ 273 w 315"/>
                <a:gd name="T15" fmla="*/ 223 h 315"/>
                <a:gd name="T16" fmla="*/ 265 w 315"/>
                <a:gd name="T17" fmla="*/ 211 h 315"/>
                <a:gd name="T18" fmla="*/ 47 w 315"/>
                <a:gd name="T19" fmla="*/ 102 h 315"/>
                <a:gd name="T20" fmla="*/ 230 w 315"/>
                <a:gd name="T21" fmla="*/ 315 h 315"/>
                <a:gd name="T22" fmla="*/ 216 w 315"/>
                <a:gd name="T23" fmla="*/ 312 h 315"/>
                <a:gd name="T24" fmla="*/ 201 w 315"/>
                <a:gd name="T25" fmla="*/ 307 h 315"/>
                <a:gd name="T26" fmla="*/ 188 w 315"/>
                <a:gd name="T27" fmla="*/ 298 h 315"/>
                <a:gd name="T28" fmla="*/ 5 w 315"/>
                <a:gd name="T29" fmla="*/ 115 h 315"/>
                <a:gd name="T30" fmla="*/ 1 w 315"/>
                <a:gd name="T31" fmla="*/ 109 h 315"/>
                <a:gd name="T32" fmla="*/ 0 w 315"/>
                <a:gd name="T33" fmla="*/ 102 h 315"/>
                <a:gd name="T34" fmla="*/ 1 w 315"/>
                <a:gd name="T35" fmla="*/ 95 h 315"/>
                <a:gd name="T36" fmla="*/ 5 w 315"/>
                <a:gd name="T37" fmla="*/ 88 h 315"/>
                <a:gd name="T38" fmla="*/ 90 w 315"/>
                <a:gd name="T39" fmla="*/ 4 h 315"/>
                <a:gd name="T40" fmla="*/ 98 w 315"/>
                <a:gd name="T41" fmla="*/ 1 h 315"/>
                <a:gd name="T42" fmla="*/ 105 w 315"/>
                <a:gd name="T43" fmla="*/ 1 h 315"/>
                <a:gd name="T44" fmla="*/ 112 w 315"/>
                <a:gd name="T45" fmla="*/ 4 h 315"/>
                <a:gd name="T46" fmla="*/ 292 w 315"/>
                <a:gd name="T47" fmla="*/ 184 h 315"/>
                <a:gd name="T48" fmla="*/ 302 w 315"/>
                <a:gd name="T49" fmla="*/ 196 h 315"/>
                <a:gd name="T50" fmla="*/ 309 w 315"/>
                <a:gd name="T51" fmla="*/ 209 h 315"/>
                <a:gd name="T52" fmla="*/ 314 w 315"/>
                <a:gd name="T53" fmla="*/ 223 h 315"/>
                <a:gd name="T54" fmla="*/ 315 w 315"/>
                <a:gd name="T55" fmla="*/ 237 h 315"/>
                <a:gd name="T56" fmla="*/ 314 w 315"/>
                <a:gd name="T57" fmla="*/ 253 h 315"/>
                <a:gd name="T58" fmla="*/ 309 w 315"/>
                <a:gd name="T59" fmla="*/ 268 h 315"/>
                <a:gd name="T60" fmla="*/ 302 w 315"/>
                <a:gd name="T61" fmla="*/ 281 h 315"/>
                <a:gd name="T62" fmla="*/ 292 w 315"/>
                <a:gd name="T63" fmla="*/ 292 h 315"/>
                <a:gd name="T64" fmla="*/ 280 w 315"/>
                <a:gd name="T65" fmla="*/ 302 h 315"/>
                <a:gd name="T66" fmla="*/ 267 w 315"/>
                <a:gd name="T67" fmla="*/ 309 h 315"/>
                <a:gd name="T68" fmla="*/ 253 w 315"/>
                <a:gd name="T69" fmla="*/ 314 h 315"/>
                <a:gd name="T70" fmla="*/ 237 w 315"/>
                <a:gd name="T71" fmla="*/ 315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5" h="315">
                  <a:moveTo>
                    <a:pt x="47" y="102"/>
                  </a:moveTo>
                  <a:lnTo>
                    <a:pt x="210" y="265"/>
                  </a:lnTo>
                  <a:lnTo>
                    <a:pt x="216" y="271"/>
                  </a:lnTo>
                  <a:lnTo>
                    <a:pt x="223" y="273"/>
                  </a:lnTo>
                  <a:lnTo>
                    <a:pt x="230" y="276"/>
                  </a:lnTo>
                  <a:lnTo>
                    <a:pt x="237" y="276"/>
                  </a:lnTo>
                  <a:lnTo>
                    <a:pt x="244" y="276"/>
                  </a:lnTo>
                  <a:lnTo>
                    <a:pt x="252" y="273"/>
                  </a:lnTo>
                  <a:lnTo>
                    <a:pt x="259" y="271"/>
                  </a:lnTo>
                  <a:lnTo>
                    <a:pt x="265" y="265"/>
                  </a:lnTo>
                  <a:lnTo>
                    <a:pt x="270" y="259"/>
                  </a:lnTo>
                  <a:lnTo>
                    <a:pt x="273" y="253"/>
                  </a:lnTo>
                  <a:lnTo>
                    <a:pt x="276" y="246"/>
                  </a:lnTo>
                  <a:lnTo>
                    <a:pt x="276" y="237"/>
                  </a:lnTo>
                  <a:lnTo>
                    <a:pt x="276" y="230"/>
                  </a:lnTo>
                  <a:lnTo>
                    <a:pt x="273" y="223"/>
                  </a:lnTo>
                  <a:lnTo>
                    <a:pt x="270" y="217"/>
                  </a:lnTo>
                  <a:lnTo>
                    <a:pt x="265" y="211"/>
                  </a:lnTo>
                  <a:lnTo>
                    <a:pt x="100" y="47"/>
                  </a:lnTo>
                  <a:lnTo>
                    <a:pt x="47" y="102"/>
                  </a:lnTo>
                  <a:close/>
                  <a:moveTo>
                    <a:pt x="237" y="315"/>
                  </a:moveTo>
                  <a:lnTo>
                    <a:pt x="230" y="315"/>
                  </a:lnTo>
                  <a:lnTo>
                    <a:pt x="223" y="314"/>
                  </a:lnTo>
                  <a:lnTo>
                    <a:pt x="216" y="312"/>
                  </a:lnTo>
                  <a:lnTo>
                    <a:pt x="208" y="309"/>
                  </a:lnTo>
                  <a:lnTo>
                    <a:pt x="201" y="307"/>
                  </a:lnTo>
                  <a:lnTo>
                    <a:pt x="195" y="302"/>
                  </a:lnTo>
                  <a:lnTo>
                    <a:pt x="188" y="298"/>
                  </a:lnTo>
                  <a:lnTo>
                    <a:pt x="183" y="292"/>
                  </a:lnTo>
                  <a:lnTo>
                    <a:pt x="5" y="115"/>
                  </a:lnTo>
                  <a:lnTo>
                    <a:pt x="3" y="112"/>
                  </a:lnTo>
                  <a:lnTo>
                    <a:pt x="1" y="109"/>
                  </a:lnTo>
                  <a:lnTo>
                    <a:pt x="0" y="105"/>
                  </a:lnTo>
                  <a:lnTo>
                    <a:pt x="0" y="102"/>
                  </a:lnTo>
                  <a:lnTo>
                    <a:pt x="0" y="98"/>
                  </a:lnTo>
                  <a:lnTo>
                    <a:pt x="1" y="95"/>
                  </a:lnTo>
                  <a:lnTo>
                    <a:pt x="3" y="90"/>
                  </a:lnTo>
                  <a:lnTo>
                    <a:pt x="5" y="88"/>
                  </a:lnTo>
                  <a:lnTo>
                    <a:pt x="87" y="6"/>
                  </a:lnTo>
                  <a:lnTo>
                    <a:pt x="90" y="4"/>
                  </a:lnTo>
                  <a:lnTo>
                    <a:pt x="93" y="1"/>
                  </a:lnTo>
                  <a:lnTo>
                    <a:pt x="98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09" y="1"/>
                  </a:lnTo>
                  <a:lnTo>
                    <a:pt x="112" y="4"/>
                  </a:lnTo>
                  <a:lnTo>
                    <a:pt x="115" y="6"/>
                  </a:lnTo>
                  <a:lnTo>
                    <a:pt x="292" y="184"/>
                  </a:lnTo>
                  <a:lnTo>
                    <a:pt x="298" y="188"/>
                  </a:lnTo>
                  <a:lnTo>
                    <a:pt x="302" y="196"/>
                  </a:lnTo>
                  <a:lnTo>
                    <a:pt x="306" y="201"/>
                  </a:lnTo>
                  <a:lnTo>
                    <a:pt x="309" y="209"/>
                  </a:lnTo>
                  <a:lnTo>
                    <a:pt x="312" y="216"/>
                  </a:lnTo>
                  <a:lnTo>
                    <a:pt x="314" y="223"/>
                  </a:lnTo>
                  <a:lnTo>
                    <a:pt x="315" y="230"/>
                  </a:lnTo>
                  <a:lnTo>
                    <a:pt x="315" y="237"/>
                  </a:lnTo>
                  <a:lnTo>
                    <a:pt x="315" y="246"/>
                  </a:lnTo>
                  <a:lnTo>
                    <a:pt x="314" y="253"/>
                  </a:lnTo>
                  <a:lnTo>
                    <a:pt x="312" y="260"/>
                  </a:lnTo>
                  <a:lnTo>
                    <a:pt x="309" y="268"/>
                  </a:lnTo>
                  <a:lnTo>
                    <a:pt x="306" y="275"/>
                  </a:lnTo>
                  <a:lnTo>
                    <a:pt x="302" y="281"/>
                  </a:lnTo>
                  <a:lnTo>
                    <a:pt x="298" y="286"/>
                  </a:lnTo>
                  <a:lnTo>
                    <a:pt x="292" y="292"/>
                  </a:lnTo>
                  <a:lnTo>
                    <a:pt x="286" y="298"/>
                  </a:lnTo>
                  <a:lnTo>
                    <a:pt x="280" y="302"/>
                  </a:lnTo>
                  <a:lnTo>
                    <a:pt x="275" y="307"/>
                  </a:lnTo>
                  <a:lnTo>
                    <a:pt x="267" y="309"/>
                  </a:lnTo>
                  <a:lnTo>
                    <a:pt x="260" y="312"/>
                  </a:lnTo>
                  <a:lnTo>
                    <a:pt x="253" y="314"/>
                  </a:lnTo>
                  <a:lnTo>
                    <a:pt x="246" y="315"/>
                  </a:lnTo>
                  <a:lnTo>
                    <a:pt x="237" y="315"/>
                  </a:lnTo>
                  <a:close/>
                </a:path>
              </a:pathLst>
            </a:custGeom>
            <a:grpFill/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31" name="Freeform 416"/>
            <p:cNvSpPr>
              <a:spLocks/>
            </p:cNvSpPr>
            <p:nvPr/>
          </p:nvSpPr>
          <p:spPr bwMode="auto">
            <a:xfrm>
              <a:off x="2100760" y="3851237"/>
              <a:ext cx="120847" cy="120847"/>
            </a:xfrm>
            <a:custGeom>
              <a:avLst/>
              <a:gdLst>
                <a:gd name="T0" fmla="*/ 27 w 248"/>
                <a:gd name="T1" fmla="*/ 0 h 248"/>
                <a:gd name="T2" fmla="*/ 248 w 248"/>
                <a:gd name="T3" fmla="*/ 220 h 248"/>
                <a:gd name="T4" fmla="*/ 220 w 248"/>
                <a:gd name="T5" fmla="*/ 248 h 248"/>
                <a:gd name="T6" fmla="*/ 0 w 248"/>
                <a:gd name="T7" fmla="*/ 27 h 248"/>
                <a:gd name="T8" fmla="*/ 27 w 248"/>
                <a:gd name="T9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248">
                  <a:moveTo>
                    <a:pt x="27" y="0"/>
                  </a:moveTo>
                  <a:lnTo>
                    <a:pt x="248" y="220"/>
                  </a:lnTo>
                  <a:lnTo>
                    <a:pt x="220" y="248"/>
                  </a:lnTo>
                  <a:lnTo>
                    <a:pt x="0" y="27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32" name="Freeform 417"/>
            <p:cNvSpPr>
              <a:spLocks/>
            </p:cNvSpPr>
            <p:nvPr/>
          </p:nvSpPr>
          <p:spPr bwMode="auto">
            <a:xfrm>
              <a:off x="2271111" y="4021588"/>
              <a:ext cx="99007" cy="97551"/>
            </a:xfrm>
            <a:custGeom>
              <a:avLst/>
              <a:gdLst>
                <a:gd name="T0" fmla="*/ 19 w 202"/>
                <a:gd name="T1" fmla="*/ 202 h 202"/>
                <a:gd name="T2" fmla="*/ 16 w 202"/>
                <a:gd name="T3" fmla="*/ 202 h 202"/>
                <a:gd name="T4" fmla="*/ 12 w 202"/>
                <a:gd name="T5" fmla="*/ 202 h 202"/>
                <a:gd name="T6" fmla="*/ 9 w 202"/>
                <a:gd name="T7" fmla="*/ 199 h 202"/>
                <a:gd name="T8" fmla="*/ 6 w 202"/>
                <a:gd name="T9" fmla="*/ 198 h 202"/>
                <a:gd name="T10" fmla="*/ 3 w 202"/>
                <a:gd name="T11" fmla="*/ 193 h 202"/>
                <a:gd name="T12" fmla="*/ 2 w 202"/>
                <a:gd name="T13" fmla="*/ 191 h 202"/>
                <a:gd name="T14" fmla="*/ 0 w 202"/>
                <a:gd name="T15" fmla="*/ 188 h 202"/>
                <a:gd name="T16" fmla="*/ 0 w 202"/>
                <a:gd name="T17" fmla="*/ 183 h 202"/>
                <a:gd name="T18" fmla="*/ 0 w 202"/>
                <a:gd name="T19" fmla="*/ 180 h 202"/>
                <a:gd name="T20" fmla="*/ 2 w 202"/>
                <a:gd name="T21" fmla="*/ 176 h 202"/>
                <a:gd name="T22" fmla="*/ 3 w 202"/>
                <a:gd name="T23" fmla="*/ 173 h 202"/>
                <a:gd name="T24" fmla="*/ 6 w 202"/>
                <a:gd name="T25" fmla="*/ 170 h 202"/>
                <a:gd name="T26" fmla="*/ 169 w 202"/>
                <a:gd name="T27" fmla="*/ 6 h 202"/>
                <a:gd name="T28" fmla="*/ 173 w 202"/>
                <a:gd name="T29" fmla="*/ 3 h 202"/>
                <a:gd name="T30" fmla="*/ 176 w 202"/>
                <a:gd name="T31" fmla="*/ 2 h 202"/>
                <a:gd name="T32" fmla="*/ 179 w 202"/>
                <a:gd name="T33" fmla="*/ 0 h 202"/>
                <a:gd name="T34" fmla="*/ 183 w 202"/>
                <a:gd name="T35" fmla="*/ 0 h 202"/>
                <a:gd name="T36" fmla="*/ 186 w 202"/>
                <a:gd name="T37" fmla="*/ 0 h 202"/>
                <a:gd name="T38" fmla="*/ 190 w 202"/>
                <a:gd name="T39" fmla="*/ 2 h 202"/>
                <a:gd name="T40" fmla="*/ 193 w 202"/>
                <a:gd name="T41" fmla="*/ 3 h 202"/>
                <a:gd name="T42" fmla="*/ 196 w 202"/>
                <a:gd name="T43" fmla="*/ 6 h 202"/>
                <a:gd name="T44" fmla="*/ 199 w 202"/>
                <a:gd name="T45" fmla="*/ 9 h 202"/>
                <a:gd name="T46" fmla="*/ 200 w 202"/>
                <a:gd name="T47" fmla="*/ 12 h 202"/>
                <a:gd name="T48" fmla="*/ 202 w 202"/>
                <a:gd name="T49" fmla="*/ 16 h 202"/>
                <a:gd name="T50" fmla="*/ 202 w 202"/>
                <a:gd name="T51" fmla="*/ 19 h 202"/>
                <a:gd name="T52" fmla="*/ 202 w 202"/>
                <a:gd name="T53" fmla="*/ 23 h 202"/>
                <a:gd name="T54" fmla="*/ 200 w 202"/>
                <a:gd name="T55" fmla="*/ 26 h 202"/>
                <a:gd name="T56" fmla="*/ 199 w 202"/>
                <a:gd name="T57" fmla="*/ 31 h 202"/>
                <a:gd name="T58" fmla="*/ 196 w 202"/>
                <a:gd name="T59" fmla="*/ 34 h 202"/>
                <a:gd name="T60" fmla="*/ 33 w 202"/>
                <a:gd name="T61" fmla="*/ 198 h 202"/>
                <a:gd name="T62" fmla="*/ 31 w 202"/>
                <a:gd name="T63" fmla="*/ 199 h 202"/>
                <a:gd name="T64" fmla="*/ 26 w 202"/>
                <a:gd name="T65" fmla="*/ 202 h 202"/>
                <a:gd name="T66" fmla="*/ 23 w 202"/>
                <a:gd name="T67" fmla="*/ 202 h 202"/>
                <a:gd name="T68" fmla="*/ 19 w 202"/>
                <a:gd name="T6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2" h="202">
                  <a:moveTo>
                    <a:pt x="19" y="202"/>
                  </a:moveTo>
                  <a:lnTo>
                    <a:pt x="16" y="202"/>
                  </a:lnTo>
                  <a:lnTo>
                    <a:pt x="12" y="202"/>
                  </a:lnTo>
                  <a:lnTo>
                    <a:pt x="9" y="199"/>
                  </a:lnTo>
                  <a:lnTo>
                    <a:pt x="6" y="198"/>
                  </a:lnTo>
                  <a:lnTo>
                    <a:pt x="3" y="193"/>
                  </a:lnTo>
                  <a:lnTo>
                    <a:pt x="2" y="191"/>
                  </a:lnTo>
                  <a:lnTo>
                    <a:pt x="0" y="188"/>
                  </a:lnTo>
                  <a:lnTo>
                    <a:pt x="0" y="183"/>
                  </a:lnTo>
                  <a:lnTo>
                    <a:pt x="0" y="180"/>
                  </a:lnTo>
                  <a:lnTo>
                    <a:pt x="2" y="176"/>
                  </a:lnTo>
                  <a:lnTo>
                    <a:pt x="3" y="173"/>
                  </a:lnTo>
                  <a:lnTo>
                    <a:pt x="6" y="170"/>
                  </a:lnTo>
                  <a:lnTo>
                    <a:pt x="169" y="6"/>
                  </a:lnTo>
                  <a:lnTo>
                    <a:pt x="173" y="3"/>
                  </a:lnTo>
                  <a:lnTo>
                    <a:pt x="176" y="2"/>
                  </a:lnTo>
                  <a:lnTo>
                    <a:pt x="179" y="0"/>
                  </a:lnTo>
                  <a:lnTo>
                    <a:pt x="183" y="0"/>
                  </a:lnTo>
                  <a:lnTo>
                    <a:pt x="186" y="0"/>
                  </a:lnTo>
                  <a:lnTo>
                    <a:pt x="190" y="2"/>
                  </a:lnTo>
                  <a:lnTo>
                    <a:pt x="193" y="3"/>
                  </a:lnTo>
                  <a:lnTo>
                    <a:pt x="196" y="6"/>
                  </a:lnTo>
                  <a:lnTo>
                    <a:pt x="199" y="9"/>
                  </a:lnTo>
                  <a:lnTo>
                    <a:pt x="200" y="12"/>
                  </a:lnTo>
                  <a:lnTo>
                    <a:pt x="202" y="16"/>
                  </a:lnTo>
                  <a:lnTo>
                    <a:pt x="202" y="19"/>
                  </a:lnTo>
                  <a:lnTo>
                    <a:pt x="202" y="23"/>
                  </a:lnTo>
                  <a:lnTo>
                    <a:pt x="200" y="26"/>
                  </a:lnTo>
                  <a:lnTo>
                    <a:pt x="199" y="31"/>
                  </a:lnTo>
                  <a:lnTo>
                    <a:pt x="196" y="34"/>
                  </a:lnTo>
                  <a:lnTo>
                    <a:pt x="33" y="198"/>
                  </a:lnTo>
                  <a:lnTo>
                    <a:pt x="31" y="199"/>
                  </a:lnTo>
                  <a:lnTo>
                    <a:pt x="26" y="202"/>
                  </a:lnTo>
                  <a:lnTo>
                    <a:pt x="23" y="202"/>
                  </a:lnTo>
                  <a:lnTo>
                    <a:pt x="19" y="202"/>
                  </a:lnTo>
                  <a:close/>
                </a:path>
              </a:pathLst>
            </a:custGeom>
            <a:grpFill/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33" name="Freeform 418"/>
            <p:cNvSpPr>
              <a:spLocks noEditPoints="1"/>
            </p:cNvSpPr>
            <p:nvPr/>
          </p:nvSpPr>
          <p:spPr bwMode="auto">
            <a:xfrm>
              <a:off x="2032329" y="3781350"/>
              <a:ext cx="97551" cy="99007"/>
            </a:xfrm>
            <a:custGeom>
              <a:avLst/>
              <a:gdLst>
                <a:gd name="T0" fmla="*/ 46 w 203"/>
                <a:gd name="T1" fmla="*/ 74 h 203"/>
                <a:gd name="T2" fmla="*/ 129 w 203"/>
                <a:gd name="T3" fmla="*/ 156 h 203"/>
                <a:gd name="T4" fmla="*/ 156 w 203"/>
                <a:gd name="T5" fmla="*/ 129 h 203"/>
                <a:gd name="T6" fmla="*/ 74 w 203"/>
                <a:gd name="T7" fmla="*/ 46 h 203"/>
                <a:gd name="T8" fmla="*/ 46 w 203"/>
                <a:gd name="T9" fmla="*/ 74 h 203"/>
                <a:gd name="T10" fmla="*/ 129 w 203"/>
                <a:gd name="T11" fmla="*/ 203 h 203"/>
                <a:gd name="T12" fmla="*/ 126 w 203"/>
                <a:gd name="T13" fmla="*/ 202 h 203"/>
                <a:gd name="T14" fmla="*/ 121 w 203"/>
                <a:gd name="T15" fmla="*/ 202 h 203"/>
                <a:gd name="T16" fmla="*/ 118 w 203"/>
                <a:gd name="T17" fmla="*/ 199 h 203"/>
                <a:gd name="T18" fmla="*/ 116 w 203"/>
                <a:gd name="T19" fmla="*/ 198 h 203"/>
                <a:gd name="T20" fmla="*/ 6 w 203"/>
                <a:gd name="T21" fmla="*/ 88 h 203"/>
                <a:gd name="T22" fmla="*/ 3 w 203"/>
                <a:gd name="T23" fmla="*/ 85 h 203"/>
                <a:gd name="T24" fmla="*/ 2 w 203"/>
                <a:gd name="T25" fmla="*/ 82 h 203"/>
                <a:gd name="T26" fmla="*/ 0 w 203"/>
                <a:gd name="T27" fmla="*/ 78 h 203"/>
                <a:gd name="T28" fmla="*/ 0 w 203"/>
                <a:gd name="T29" fmla="*/ 74 h 203"/>
                <a:gd name="T30" fmla="*/ 0 w 203"/>
                <a:gd name="T31" fmla="*/ 71 h 203"/>
                <a:gd name="T32" fmla="*/ 2 w 203"/>
                <a:gd name="T33" fmla="*/ 67 h 203"/>
                <a:gd name="T34" fmla="*/ 3 w 203"/>
                <a:gd name="T35" fmla="*/ 64 h 203"/>
                <a:gd name="T36" fmla="*/ 6 w 203"/>
                <a:gd name="T37" fmla="*/ 61 h 203"/>
                <a:gd name="T38" fmla="*/ 61 w 203"/>
                <a:gd name="T39" fmla="*/ 6 h 203"/>
                <a:gd name="T40" fmla="*/ 64 w 203"/>
                <a:gd name="T41" fmla="*/ 3 h 203"/>
                <a:gd name="T42" fmla="*/ 67 w 203"/>
                <a:gd name="T43" fmla="*/ 2 h 203"/>
                <a:gd name="T44" fmla="*/ 71 w 203"/>
                <a:gd name="T45" fmla="*/ 0 h 203"/>
                <a:gd name="T46" fmla="*/ 74 w 203"/>
                <a:gd name="T47" fmla="*/ 0 h 203"/>
                <a:gd name="T48" fmla="*/ 78 w 203"/>
                <a:gd name="T49" fmla="*/ 0 h 203"/>
                <a:gd name="T50" fmla="*/ 81 w 203"/>
                <a:gd name="T51" fmla="*/ 2 h 203"/>
                <a:gd name="T52" fmla="*/ 85 w 203"/>
                <a:gd name="T53" fmla="*/ 3 h 203"/>
                <a:gd name="T54" fmla="*/ 88 w 203"/>
                <a:gd name="T55" fmla="*/ 6 h 203"/>
                <a:gd name="T56" fmla="*/ 198 w 203"/>
                <a:gd name="T57" fmla="*/ 116 h 203"/>
                <a:gd name="T58" fmla="*/ 199 w 203"/>
                <a:gd name="T59" fmla="*/ 118 h 203"/>
                <a:gd name="T60" fmla="*/ 201 w 203"/>
                <a:gd name="T61" fmla="*/ 121 h 203"/>
                <a:gd name="T62" fmla="*/ 202 w 203"/>
                <a:gd name="T63" fmla="*/ 126 h 203"/>
                <a:gd name="T64" fmla="*/ 203 w 203"/>
                <a:gd name="T65" fmla="*/ 129 h 203"/>
                <a:gd name="T66" fmla="*/ 202 w 203"/>
                <a:gd name="T67" fmla="*/ 133 h 203"/>
                <a:gd name="T68" fmla="*/ 201 w 203"/>
                <a:gd name="T69" fmla="*/ 136 h 203"/>
                <a:gd name="T70" fmla="*/ 199 w 203"/>
                <a:gd name="T71" fmla="*/ 140 h 203"/>
                <a:gd name="T72" fmla="*/ 198 w 203"/>
                <a:gd name="T73" fmla="*/ 143 h 203"/>
                <a:gd name="T74" fmla="*/ 143 w 203"/>
                <a:gd name="T75" fmla="*/ 198 h 203"/>
                <a:gd name="T76" fmla="*/ 140 w 203"/>
                <a:gd name="T77" fmla="*/ 199 h 203"/>
                <a:gd name="T78" fmla="*/ 136 w 203"/>
                <a:gd name="T79" fmla="*/ 202 h 203"/>
                <a:gd name="T80" fmla="*/ 133 w 203"/>
                <a:gd name="T81" fmla="*/ 202 h 203"/>
                <a:gd name="T82" fmla="*/ 129 w 203"/>
                <a:gd name="T83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3" h="203">
                  <a:moveTo>
                    <a:pt x="46" y="74"/>
                  </a:moveTo>
                  <a:lnTo>
                    <a:pt x="129" y="156"/>
                  </a:lnTo>
                  <a:lnTo>
                    <a:pt x="156" y="129"/>
                  </a:lnTo>
                  <a:lnTo>
                    <a:pt x="74" y="46"/>
                  </a:lnTo>
                  <a:lnTo>
                    <a:pt x="46" y="74"/>
                  </a:lnTo>
                  <a:close/>
                  <a:moveTo>
                    <a:pt x="129" y="203"/>
                  </a:moveTo>
                  <a:lnTo>
                    <a:pt x="126" y="202"/>
                  </a:lnTo>
                  <a:lnTo>
                    <a:pt x="121" y="202"/>
                  </a:lnTo>
                  <a:lnTo>
                    <a:pt x="118" y="199"/>
                  </a:lnTo>
                  <a:lnTo>
                    <a:pt x="116" y="198"/>
                  </a:lnTo>
                  <a:lnTo>
                    <a:pt x="6" y="88"/>
                  </a:lnTo>
                  <a:lnTo>
                    <a:pt x="3" y="85"/>
                  </a:lnTo>
                  <a:lnTo>
                    <a:pt x="2" y="82"/>
                  </a:lnTo>
                  <a:lnTo>
                    <a:pt x="0" y="78"/>
                  </a:lnTo>
                  <a:lnTo>
                    <a:pt x="0" y="74"/>
                  </a:lnTo>
                  <a:lnTo>
                    <a:pt x="0" y="71"/>
                  </a:lnTo>
                  <a:lnTo>
                    <a:pt x="2" y="67"/>
                  </a:lnTo>
                  <a:lnTo>
                    <a:pt x="3" y="64"/>
                  </a:lnTo>
                  <a:lnTo>
                    <a:pt x="6" y="61"/>
                  </a:lnTo>
                  <a:lnTo>
                    <a:pt x="61" y="6"/>
                  </a:lnTo>
                  <a:lnTo>
                    <a:pt x="64" y="3"/>
                  </a:lnTo>
                  <a:lnTo>
                    <a:pt x="67" y="2"/>
                  </a:lnTo>
                  <a:lnTo>
                    <a:pt x="71" y="0"/>
                  </a:lnTo>
                  <a:lnTo>
                    <a:pt x="74" y="0"/>
                  </a:lnTo>
                  <a:lnTo>
                    <a:pt x="78" y="0"/>
                  </a:lnTo>
                  <a:lnTo>
                    <a:pt x="81" y="2"/>
                  </a:lnTo>
                  <a:lnTo>
                    <a:pt x="85" y="3"/>
                  </a:lnTo>
                  <a:lnTo>
                    <a:pt x="88" y="6"/>
                  </a:lnTo>
                  <a:lnTo>
                    <a:pt x="198" y="116"/>
                  </a:lnTo>
                  <a:lnTo>
                    <a:pt x="199" y="118"/>
                  </a:lnTo>
                  <a:lnTo>
                    <a:pt x="201" y="121"/>
                  </a:lnTo>
                  <a:lnTo>
                    <a:pt x="202" y="126"/>
                  </a:lnTo>
                  <a:lnTo>
                    <a:pt x="203" y="129"/>
                  </a:lnTo>
                  <a:lnTo>
                    <a:pt x="202" y="133"/>
                  </a:lnTo>
                  <a:lnTo>
                    <a:pt x="201" y="136"/>
                  </a:lnTo>
                  <a:lnTo>
                    <a:pt x="199" y="140"/>
                  </a:lnTo>
                  <a:lnTo>
                    <a:pt x="198" y="143"/>
                  </a:lnTo>
                  <a:lnTo>
                    <a:pt x="143" y="198"/>
                  </a:lnTo>
                  <a:lnTo>
                    <a:pt x="140" y="199"/>
                  </a:lnTo>
                  <a:lnTo>
                    <a:pt x="136" y="202"/>
                  </a:lnTo>
                  <a:lnTo>
                    <a:pt x="133" y="202"/>
                  </a:lnTo>
                  <a:lnTo>
                    <a:pt x="129" y="203"/>
                  </a:lnTo>
                  <a:close/>
                </a:path>
              </a:pathLst>
            </a:custGeom>
            <a:grpFill/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34" name="Freeform 419"/>
            <p:cNvSpPr>
              <a:spLocks/>
            </p:cNvSpPr>
            <p:nvPr/>
          </p:nvSpPr>
          <p:spPr bwMode="auto">
            <a:xfrm>
              <a:off x="2247815" y="3998293"/>
              <a:ext cx="81535" cy="81536"/>
            </a:xfrm>
            <a:custGeom>
              <a:avLst/>
              <a:gdLst>
                <a:gd name="T0" fmla="*/ 28 w 169"/>
                <a:gd name="T1" fmla="*/ 0 h 169"/>
                <a:gd name="T2" fmla="*/ 169 w 169"/>
                <a:gd name="T3" fmla="*/ 142 h 169"/>
                <a:gd name="T4" fmla="*/ 141 w 169"/>
                <a:gd name="T5" fmla="*/ 169 h 169"/>
                <a:gd name="T6" fmla="*/ 0 w 169"/>
                <a:gd name="T7" fmla="*/ 28 h 169"/>
                <a:gd name="T8" fmla="*/ 28 w 169"/>
                <a:gd name="T9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169">
                  <a:moveTo>
                    <a:pt x="28" y="0"/>
                  </a:moveTo>
                  <a:lnTo>
                    <a:pt x="169" y="142"/>
                  </a:lnTo>
                  <a:lnTo>
                    <a:pt x="141" y="169"/>
                  </a:lnTo>
                  <a:lnTo>
                    <a:pt x="0" y="28"/>
                  </a:lnTo>
                  <a:lnTo>
                    <a:pt x="28" y="0"/>
                  </a:lnTo>
                  <a:close/>
                </a:path>
              </a:pathLst>
            </a:custGeom>
            <a:grpFill/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sp>
        <p:nvSpPr>
          <p:cNvPr id="39" name="TextBox 38"/>
          <p:cNvSpPr txBox="1"/>
          <p:nvPr/>
        </p:nvSpPr>
        <p:spPr>
          <a:xfrm>
            <a:off x="7456339" y="821930"/>
            <a:ext cx="3429623" cy="58477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3200" spc="-151">
                <a:solidFill>
                  <a:schemeClr val="bg1"/>
                </a:solidFill>
                <a:latin typeface="Titillium" panose="00000500000000000000" pitchFamily="50" charset="0"/>
                <a:ea typeface="Roboto" panose="02000000000000000000" pitchFamily="2" charset="0"/>
                <a:cs typeface="Open Sans Semibold" panose="020B07060308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r"/>
            <a:r>
              <a:rPr lang="en-US" sz="2800" spc="3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Réclamations</a:t>
            </a:r>
            <a:r>
              <a:rPr lang="en-US" sz="2800" spc="3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non </a:t>
            </a:r>
            <a:r>
              <a:rPr lang="en-US" sz="2800" spc="3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raitées</a:t>
            </a:r>
            <a:r>
              <a:rPr lang="en-US" sz="2800" spc="3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.</a:t>
            </a:r>
          </a:p>
        </p:txBody>
      </p:sp>
      <p:sp>
        <p:nvSpPr>
          <p:cNvPr id="41" name="Arc 40"/>
          <p:cNvSpPr/>
          <p:nvPr/>
        </p:nvSpPr>
        <p:spPr>
          <a:xfrm flipV="1">
            <a:off x="4248470" y="1790703"/>
            <a:ext cx="3733780" cy="3319272"/>
          </a:xfrm>
          <a:prstGeom prst="arc">
            <a:avLst>
              <a:gd name="adj1" fmla="val 12042590"/>
              <a:gd name="adj2" fmla="val 20458908"/>
            </a:avLst>
          </a:prstGeom>
          <a:ln w="28575">
            <a:solidFill>
              <a:schemeClr val="bg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>
            <p:custDataLst>
              <p:tags r:id="rId1"/>
            </p:custDataLst>
          </p:nvPr>
        </p:nvSpPr>
        <p:spPr>
          <a:xfrm>
            <a:off x="4248470" y="2851571"/>
            <a:ext cx="3916736" cy="75394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spc="600" dirty="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Open Sans Semibold" panose="020B0706030804020204" pitchFamily="34" charset="0"/>
              </a:rPr>
              <a:t>CRITIQUE </a:t>
            </a:r>
          </a:p>
          <a:p>
            <a:pPr algn="ctr"/>
            <a:r>
              <a:rPr lang="en-US" sz="3600" b="1" spc="600" dirty="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Open Sans Semibold" panose="020B0706030804020204" pitchFamily="34" charset="0"/>
              </a:rPr>
              <a:t>DE </a:t>
            </a:r>
          </a:p>
          <a:p>
            <a:pPr algn="ctr"/>
            <a:r>
              <a:rPr lang="en-US" sz="3600" b="1" spc="600" dirty="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Open Sans Semibold" panose="020B0706030804020204" pitchFamily="34" charset="0"/>
              </a:rPr>
              <a:t>L’EXISTA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D59F26C4-D45C-449B-845B-D6966B6EB65F}" type="slidenum">
              <a:rPr lang="en-US" smtClean="0"/>
              <a:pPr algn="ctr"/>
              <a:t>5</a:t>
            </a:fld>
            <a:endParaRPr lang="en-US"/>
          </a:p>
        </p:txBody>
      </p:sp>
      <p:sp>
        <p:nvSpPr>
          <p:cNvPr id="25" name="TextBox 21"/>
          <p:cNvSpPr txBox="1"/>
          <p:nvPr/>
        </p:nvSpPr>
        <p:spPr>
          <a:xfrm>
            <a:off x="1159099" y="5393372"/>
            <a:ext cx="3576563" cy="58477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3200" spc="-151">
                <a:solidFill>
                  <a:schemeClr val="bg1"/>
                </a:solidFill>
                <a:latin typeface="Titillium" panose="00000500000000000000" pitchFamily="50" charset="0"/>
                <a:ea typeface="Roboto" panose="02000000000000000000" pitchFamily="2" charset="0"/>
                <a:cs typeface="Open Sans Semibold" panose="020B07060308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r"/>
            <a:r>
              <a:rPr lang="en-US" sz="2800" spc="300" dirty="0">
                <a:latin typeface="Lato "/>
              </a:rPr>
              <a:t>Le </a:t>
            </a:r>
            <a:r>
              <a:rPr lang="en-US" sz="2800" spc="300" dirty="0" err="1">
                <a:latin typeface="Lato "/>
              </a:rPr>
              <a:t>Vandalisme</a:t>
            </a:r>
            <a:r>
              <a:rPr lang="en-US" sz="2800" spc="300" dirty="0">
                <a:latin typeface="Lato "/>
              </a:rPr>
              <a:t>.</a:t>
            </a:r>
          </a:p>
        </p:txBody>
      </p:sp>
      <p:sp>
        <p:nvSpPr>
          <p:cNvPr id="27" name="TextBox 21"/>
          <p:cNvSpPr txBox="1"/>
          <p:nvPr/>
        </p:nvSpPr>
        <p:spPr>
          <a:xfrm>
            <a:off x="6631428" y="5747967"/>
            <a:ext cx="4254534" cy="42287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3200" spc="-151">
                <a:solidFill>
                  <a:schemeClr val="bg1"/>
                </a:solidFill>
                <a:latin typeface="Titillium" panose="00000500000000000000" pitchFamily="50" charset="0"/>
                <a:ea typeface="Roboto" panose="02000000000000000000" pitchFamily="2" charset="0"/>
                <a:cs typeface="Open Sans Semibold" panose="020B07060308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r"/>
            <a:r>
              <a:rPr lang="en-US" sz="2800" spc="3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La non satisfaction des clients.</a:t>
            </a:r>
          </a:p>
        </p:txBody>
      </p:sp>
    </p:spTree>
    <p:extLst>
      <p:ext uri="{BB962C8B-B14F-4D97-AF65-F5344CB8AC3E}">
        <p14:creationId xmlns:p14="http://schemas.microsoft.com/office/powerpoint/2010/main" val="65657420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6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900" decel="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900" decel="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000"/>
                            </p:stCondLst>
                            <p:childTnLst>
                              <p:par>
                                <p:cTn id="32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4500"/>
                            </p:stCondLst>
                            <p:childTnLst>
                              <p:par>
                                <p:cTn id="3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6" grpId="0" animBg="1"/>
      <p:bldP spid="41" grpId="0" animBg="1"/>
      <p:bldP spid="2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6096000" y="-31899"/>
            <a:ext cx="0" cy="1371600"/>
          </a:xfrm>
          <a:prstGeom prst="line">
            <a:avLst/>
          </a:prstGeom>
          <a:ln w="28575">
            <a:solidFill>
              <a:schemeClr val="bg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6096000" y="4762500"/>
            <a:ext cx="0" cy="2197799"/>
          </a:xfrm>
          <a:prstGeom prst="line">
            <a:avLst/>
          </a:prstGeom>
          <a:ln w="28575">
            <a:solidFill>
              <a:schemeClr val="bg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3249795" y="3396321"/>
            <a:ext cx="56924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spc="600" dirty="0">
                <a:solidFill>
                  <a:schemeClr val="bg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PROBLEMATIQU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D59F26C4-D45C-449B-845B-D6966B6EB65F}" type="slidenum">
              <a:rPr lang="en-US" smtClean="0"/>
              <a:pPr algn="ctr"/>
              <a:t>6</a:t>
            </a:fld>
            <a:endParaRPr lang="en-US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6930" y="1608556"/>
            <a:ext cx="1618140" cy="1618140"/>
          </a:xfrm>
          <a:prstGeom prst="rect">
            <a:avLst/>
          </a:prstGeom>
        </p:spPr>
      </p:pic>
      <p:sp>
        <p:nvSpPr>
          <p:cNvPr id="9" name="TextBox 21"/>
          <p:cNvSpPr txBox="1"/>
          <p:nvPr/>
        </p:nvSpPr>
        <p:spPr>
          <a:xfrm>
            <a:off x="541019" y="854156"/>
            <a:ext cx="4194643" cy="58477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3200" spc="-151">
                <a:solidFill>
                  <a:schemeClr val="bg1"/>
                </a:solidFill>
                <a:latin typeface="Titillium" panose="00000500000000000000" pitchFamily="50" charset="0"/>
                <a:ea typeface="Roboto" panose="02000000000000000000" pitchFamily="2" charset="0"/>
                <a:cs typeface="Open Sans Semibold" panose="020B07060308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r"/>
            <a:r>
              <a:rPr lang="en-US" sz="2800" spc="300" dirty="0">
                <a:latin typeface="Lato "/>
              </a:rPr>
              <a:t>POLLUTION</a:t>
            </a:r>
            <a:endParaRPr lang="en-US" sz="2800" dirty="0">
              <a:latin typeface="Lato "/>
            </a:endParaRPr>
          </a:p>
        </p:txBody>
      </p:sp>
      <p:sp>
        <p:nvSpPr>
          <p:cNvPr id="10" name="TextBox 21"/>
          <p:cNvSpPr txBox="1"/>
          <p:nvPr/>
        </p:nvSpPr>
        <p:spPr>
          <a:xfrm>
            <a:off x="874478" y="5137223"/>
            <a:ext cx="4194643" cy="58477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3200" spc="-151">
                <a:solidFill>
                  <a:schemeClr val="bg1"/>
                </a:solidFill>
                <a:latin typeface="Titillium" panose="00000500000000000000" pitchFamily="50" charset="0"/>
                <a:ea typeface="Roboto" panose="02000000000000000000" pitchFamily="2" charset="0"/>
                <a:cs typeface="Open Sans Semibold" panose="020B07060308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r"/>
            <a:r>
              <a:rPr lang="en-US" sz="2800" spc="300" dirty="0">
                <a:latin typeface="Lato "/>
              </a:rPr>
              <a:t>EMBOUTEILLAGE</a:t>
            </a:r>
            <a:endParaRPr lang="en-US" sz="2800" dirty="0">
              <a:latin typeface="Lato "/>
            </a:endParaRPr>
          </a:p>
        </p:txBody>
      </p:sp>
      <p:sp>
        <p:nvSpPr>
          <p:cNvPr id="11" name="TextBox 21"/>
          <p:cNvSpPr txBox="1"/>
          <p:nvPr/>
        </p:nvSpPr>
        <p:spPr>
          <a:xfrm>
            <a:off x="6411638" y="854156"/>
            <a:ext cx="4194643" cy="58477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3200" spc="-151">
                <a:solidFill>
                  <a:schemeClr val="bg1"/>
                </a:solidFill>
                <a:latin typeface="Titillium" panose="00000500000000000000" pitchFamily="50" charset="0"/>
                <a:ea typeface="Roboto" panose="02000000000000000000" pitchFamily="2" charset="0"/>
                <a:cs typeface="Open Sans Semibold" panose="020B07060308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r"/>
            <a:r>
              <a:rPr lang="en-US" sz="2800" spc="300" dirty="0">
                <a:latin typeface="Lato "/>
              </a:rPr>
              <a:t>OBESITE</a:t>
            </a:r>
            <a:endParaRPr lang="en-US" sz="2800" dirty="0">
              <a:latin typeface="Lato "/>
            </a:endParaRPr>
          </a:p>
        </p:txBody>
      </p:sp>
      <p:sp>
        <p:nvSpPr>
          <p:cNvPr id="12" name="TextBox 21"/>
          <p:cNvSpPr txBox="1"/>
          <p:nvPr/>
        </p:nvSpPr>
        <p:spPr>
          <a:xfrm>
            <a:off x="6635960" y="5217834"/>
            <a:ext cx="4194643" cy="58477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3200" spc="-151">
                <a:solidFill>
                  <a:schemeClr val="bg1"/>
                </a:solidFill>
                <a:latin typeface="Titillium" panose="00000500000000000000" pitchFamily="50" charset="0"/>
                <a:ea typeface="Roboto" panose="02000000000000000000" pitchFamily="2" charset="0"/>
                <a:cs typeface="Open Sans Semibold" panose="020B07060308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r"/>
            <a:r>
              <a:rPr lang="en-US" sz="2800" spc="300" dirty="0">
                <a:latin typeface="Lato "/>
              </a:rPr>
              <a:t>MANQUE DE DIVERTISSEMENT</a:t>
            </a:r>
            <a:endParaRPr lang="en-US" sz="2800" dirty="0">
              <a:latin typeface="Lato "/>
            </a:endParaRPr>
          </a:p>
        </p:txBody>
      </p:sp>
    </p:spTree>
    <p:extLst>
      <p:ext uri="{BB962C8B-B14F-4D97-AF65-F5344CB8AC3E}">
        <p14:creationId xmlns:p14="http://schemas.microsoft.com/office/powerpoint/2010/main" val="32448517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6096000" y="-31899"/>
            <a:ext cx="0" cy="1371600"/>
          </a:xfrm>
          <a:prstGeom prst="line">
            <a:avLst/>
          </a:prstGeom>
          <a:ln w="28575">
            <a:solidFill>
              <a:schemeClr val="bg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4218346" y="4343951"/>
            <a:ext cx="5901887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spc="3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UNE APPLICATION DESKTOP LIEE A </a:t>
            </a:r>
          </a:p>
          <a:p>
            <a:pPr algn="ctr"/>
            <a:r>
              <a:rPr lang="en-US" sz="1600" spc="3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UN SITE WEB ET UNE APPLICATION MOBILE POUR METTRE EN DISPOSITION DES VELOS.</a:t>
            </a:r>
          </a:p>
          <a:p>
            <a:pPr algn="ctr"/>
            <a:endParaRPr lang="en-US" sz="1000" dirty="0">
              <a:solidFill>
                <a:schemeClr val="bg1"/>
              </a:solidFill>
              <a:latin typeface="Titillium" panose="00000500000000000000" pitchFamily="50" charset="0"/>
              <a:ea typeface="Roboto" panose="02000000000000000000" pitchFamily="2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5581441" y="1714213"/>
            <a:ext cx="1003257" cy="1006501"/>
            <a:chOff x="5009830" y="3762419"/>
            <a:chExt cx="449901" cy="451357"/>
          </a:xfrm>
          <a:solidFill>
            <a:schemeClr val="tx1">
              <a:lumMod val="95000"/>
              <a:lumOff val="5000"/>
            </a:schemeClr>
          </a:solidFill>
        </p:grpSpPr>
        <p:sp>
          <p:nvSpPr>
            <p:cNvPr id="16" name="Freeform 467"/>
            <p:cNvSpPr>
              <a:spLocks noEditPoints="1"/>
            </p:cNvSpPr>
            <p:nvPr/>
          </p:nvSpPr>
          <p:spPr bwMode="auto">
            <a:xfrm>
              <a:off x="5009830" y="3762419"/>
              <a:ext cx="449901" cy="451357"/>
            </a:xfrm>
            <a:custGeom>
              <a:avLst/>
              <a:gdLst>
                <a:gd name="T0" fmla="*/ 390 w 928"/>
                <a:gd name="T1" fmla="*/ 764 h 928"/>
                <a:gd name="T2" fmla="*/ 408 w 928"/>
                <a:gd name="T3" fmla="*/ 878 h 928"/>
                <a:gd name="T4" fmla="*/ 503 w 928"/>
                <a:gd name="T5" fmla="*/ 889 h 928"/>
                <a:gd name="T6" fmla="*/ 522 w 928"/>
                <a:gd name="T7" fmla="*/ 873 h 928"/>
                <a:gd name="T8" fmla="*/ 559 w 928"/>
                <a:gd name="T9" fmla="*/ 758 h 928"/>
                <a:gd name="T10" fmla="*/ 648 w 928"/>
                <a:gd name="T11" fmla="*/ 731 h 928"/>
                <a:gd name="T12" fmla="*/ 730 w 928"/>
                <a:gd name="T13" fmla="*/ 796 h 928"/>
                <a:gd name="T14" fmla="*/ 797 w 928"/>
                <a:gd name="T15" fmla="*/ 724 h 928"/>
                <a:gd name="T16" fmla="*/ 725 w 928"/>
                <a:gd name="T17" fmla="*/ 637 h 928"/>
                <a:gd name="T18" fmla="*/ 766 w 928"/>
                <a:gd name="T19" fmla="*/ 531 h 928"/>
                <a:gd name="T20" fmla="*/ 880 w 928"/>
                <a:gd name="T21" fmla="*/ 519 h 928"/>
                <a:gd name="T22" fmla="*/ 887 w 928"/>
                <a:gd name="T23" fmla="*/ 423 h 928"/>
                <a:gd name="T24" fmla="*/ 869 w 928"/>
                <a:gd name="T25" fmla="*/ 407 h 928"/>
                <a:gd name="T26" fmla="*/ 749 w 928"/>
                <a:gd name="T27" fmla="*/ 346 h 928"/>
                <a:gd name="T28" fmla="*/ 791 w 928"/>
                <a:gd name="T29" fmla="*/ 218 h 928"/>
                <a:gd name="T30" fmla="*/ 794 w 928"/>
                <a:gd name="T31" fmla="*/ 193 h 928"/>
                <a:gd name="T32" fmla="*/ 719 w 928"/>
                <a:gd name="T33" fmla="*/ 132 h 928"/>
                <a:gd name="T34" fmla="*/ 630 w 928"/>
                <a:gd name="T35" fmla="*/ 204 h 928"/>
                <a:gd name="T36" fmla="*/ 526 w 928"/>
                <a:gd name="T37" fmla="*/ 157 h 928"/>
                <a:gd name="T38" fmla="*/ 516 w 928"/>
                <a:gd name="T39" fmla="*/ 45 h 928"/>
                <a:gd name="T40" fmla="*/ 418 w 928"/>
                <a:gd name="T41" fmla="*/ 41 h 928"/>
                <a:gd name="T42" fmla="*/ 406 w 928"/>
                <a:gd name="T43" fmla="*/ 146 h 928"/>
                <a:gd name="T44" fmla="*/ 324 w 928"/>
                <a:gd name="T45" fmla="*/ 189 h 928"/>
                <a:gd name="T46" fmla="*/ 215 w 928"/>
                <a:gd name="T47" fmla="*/ 134 h 928"/>
                <a:gd name="T48" fmla="*/ 190 w 928"/>
                <a:gd name="T49" fmla="*/ 137 h 928"/>
                <a:gd name="T50" fmla="*/ 131 w 928"/>
                <a:gd name="T51" fmla="*/ 212 h 928"/>
                <a:gd name="T52" fmla="*/ 200 w 928"/>
                <a:gd name="T53" fmla="*/ 304 h 928"/>
                <a:gd name="T54" fmla="*/ 151 w 928"/>
                <a:gd name="T55" fmla="*/ 405 h 928"/>
                <a:gd name="T56" fmla="*/ 42 w 928"/>
                <a:gd name="T57" fmla="*/ 415 h 928"/>
                <a:gd name="T58" fmla="*/ 42 w 928"/>
                <a:gd name="T59" fmla="*/ 513 h 928"/>
                <a:gd name="T60" fmla="*/ 151 w 928"/>
                <a:gd name="T61" fmla="*/ 523 h 928"/>
                <a:gd name="T62" fmla="*/ 200 w 928"/>
                <a:gd name="T63" fmla="*/ 626 h 928"/>
                <a:gd name="T64" fmla="*/ 131 w 928"/>
                <a:gd name="T65" fmla="*/ 716 h 928"/>
                <a:gd name="T66" fmla="*/ 190 w 928"/>
                <a:gd name="T67" fmla="*/ 793 h 928"/>
                <a:gd name="T68" fmla="*/ 215 w 928"/>
                <a:gd name="T69" fmla="*/ 794 h 928"/>
                <a:gd name="T70" fmla="*/ 503 w 928"/>
                <a:gd name="T71" fmla="*/ 928 h 928"/>
                <a:gd name="T72" fmla="*/ 372 w 928"/>
                <a:gd name="T73" fmla="*/ 892 h 928"/>
                <a:gd name="T74" fmla="*/ 295 w 928"/>
                <a:gd name="T75" fmla="*/ 768 h 928"/>
                <a:gd name="T76" fmla="*/ 182 w 928"/>
                <a:gd name="T77" fmla="*/ 832 h 928"/>
                <a:gd name="T78" fmla="*/ 91 w 928"/>
                <a:gd name="T79" fmla="*/ 724 h 928"/>
                <a:gd name="T80" fmla="*/ 143 w 928"/>
                <a:gd name="T81" fmla="*/ 597 h 928"/>
                <a:gd name="T82" fmla="*/ 18 w 928"/>
                <a:gd name="T83" fmla="*/ 543 h 928"/>
                <a:gd name="T84" fmla="*/ 5 w 928"/>
                <a:gd name="T85" fmla="*/ 404 h 928"/>
                <a:gd name="T86" fmla="*/ 130 w 928"/>
                <a:gd name="T87" fmla="*/ 368 h 928"/>
                <a:gd name="T88" fmla="*/ 95 w 928"/>
                <a:gd name="T89" fmla="*/ 227 h 928"/>
                <a:gd name="T90" fmla="*/ 163 w 928"/>
                <a:gd name="T91" fmla="*/ 110 h 928"/>
                <a:gd name="T92" fmla="*/ 236 w 928"/>
                <a:gd name="T93" fmla="*/ 103 h 928"/>
                <a:gd name="T94" fmla="*/ 367 w 928"/>
                <a:gd name="T95" fmla="*/ 58 h 928"/>
                <a:gd name="T96" fmla="*/ 414 w 928"/>
                <a:gd name="T97" fmla="*/ 2 h 928"/>
                <a:gd name="T98" fmla="*/ 550 w 928"/>
                <a:gd name="T99" fmla="*/ 26 h 928"/>
                <a:gd name="T100" fmla="*/ 614 w 928"/>
                <a:gd name="T101" fmla="*/ 152 h 928"/>
                <a:gd name="T102" fmla="*/ 735 w 928"/>
                <a:gd name="T103" fmla="*/ 94 h 928"/>
                <a:gd name="T104" fmla="*/ 834 w 928"/>
                <a:gd name="T105" fmla="*/ 193 h 928"/>
                <a:gd name="T106" fmla="*/ 776 w 928"/>
                <a:gd name="T107" fmla="*/ 314 h 928"/>
                <a:gd name="T108" fmla="*/ 902 w 928"/>
                <a:gd name="T109" fmla="*/ 378 h 928"/>
                <a:gd name="T110" fmla="*/ 926 w 928"/>
                <a:gd name="T111" fmla="*/ 515 h 928"/>
                <a:gd name="T112" fmla="*/ 869 w 928"/>
                <a:gd name="T113" fmla="*/ 561 h 928"/>
                <a:gd name="T114" fmla="*/ 825 w 928"/>
                <a:gd name="T115" fmla="*/ 692 h 928"/>
                <a:gd name="T116" fmla="*/ 818 w 928"/>
                <a:gd name="T117" fmla="*/ 765 h 928"/>
                <a:gd name="T118" fmla="*/ 702 w 928"/>
                <a:gd name="T119" fmla="*/ 832 h 928"/>
                <a:gd name="T120" fmla="*/ 560 w 928"/>
                <a:gd name="T121" fmla="*/ 798 h 928"/>
                <a:gd name="T122" fmla="*/ 524 w 928"/>
                <a:gd name="T123" fmla="*/ 924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28" h="928">
                  <a:moveTo>
                    <a:pt x="293" y="725"/>
                  </a:moveTo>
                  <a:lnTo>
                    <a:pt x="298" y="726"/>
                  </a:lnTo>
                  <a:lnTo>
                    <a:pt x="303" y="728"/>
                  </a:lnTo>
                  <a:lnTo>
                    <a:pt x="324" y="739"/>
                  </a:lnTo>
                  <a:lnTo>
                    <a:pt x="346" y="749"/>
                  </a:lnTo>
                  <a:lnTo>
                    <a:pt x="367" y="758"/>
                  </a:lnTo>
                  <a:lnTo>
                    <a:pt x="390" y="764"/>
                  </a:lnTo>
                  <a:lnTo>
                    <a:pt x="396" y="767"/>
                  </a:lnTo>
                  <a:lnTo>
                    <a:pt x="402" y="771"/>
                  </a:lnTo>
                  <a:lnTo>
                    <a:pt x="405" y="777"/>
                  </a:lnTo>
                  <a:lnTo>
                    <a:pt x="406" y="783"/>
                  </a:lnTo>
                  <a:lnTo>
                    <a:pt x="406" y="870"/>
                  </a:lnTo>
                  <a:lnTo>
                    <a:pt x="406" y="873"/>
                  </a:lnTo>
                  <a:lnTo>
                    <a:pt x="408" y="878"/>
                  </a:lnTo>
                  <a:lnTo>
                    <a:pt x="409" y="881"/>
                  </a:lnTo>
                  <a:lnTo>
                    <a:pt x="411" y="883"/>
                  </a:lnTo>
                  <a:lnTo>
                    <a:pt x="414" y="886"/>
                  </a:lnTo>
                  <a:lnTo>
                    <a:pt x="418" y="888"/>
                  </a:lnTo>
                  <a:lnTo>
                    <a:pt x="421" y="889"/>
                  </a:lnTo>
                  <a:lnTo>
                    <a:pt x="425" y="889"/>
                  </a:lnTo>
                  <a:lnTo>
                    <a:pt x="503" y="889"/>
                  </a:lnTo>
                  <a:lnTo>
                    <a:pt x="506" y="889"/>
                  </a:lnTo>
                  <a:lnTo>
                    <a:pt x="510" y="888"/>
                  </a:lnTo>
                  <a:lnTo>
                    <a:pt x="513" y="886"/>
                  </a:lnTo>
                  <a:lnTo>
                    <a:pt x="516" y="883"/>
                  </a:lnTo>
                  <a:lnTo>
                    <a:pt x="519" y="881"/>
                  </a:lnTo>
                  <a:lnTo>
                    <a:pt x="520" y="878"/>
                  </a:lnTo>
                  <a:lnTo>
                    <a:pt x="522" y="873"/>
                  </a:lnTo>
                  <a:lnTo>
                    <a:pt x="522" y="870"/>
                  </a:lnTo>
                  <a:lnTo>
                    <a:pt x="522" y="783"/>
                  </a:lnTo>
                  <a:lnTo>
                    <a:pt x="523" y="777"/>
                  </a:lnTo>
                  <a:lnTo>
                    <a:pt x="526" y="771"/>
                  </a:lnTo>
                  <a:lnTo>
                    <a:pt x="530" y="767"/>
                  </a:lnTo>
                  <a:lnTo>
                    <a:pt x="536" y="764"/>
                  </a:lnTo>
                  <a:lnTo>
                    <a:pt x="559" y="758"/>
                  </a:lnTo>
                  <a:lnTo>
                    <a:pt x="582" y="749"/>
                  </a:lnTo>
                  <a:lnTo>
                    <a:pt x="604" y="739"/>
                  </a:lnTo>
                  <a:lnTo>
                    <a:pt x="624" y="728"/>
                  </a:lnTo>
                  <a:lnTo>
                    <a:pt x="631" y="725"/>
                  </a:lnTo>
                  <a:lnTo>
                    <a:pt x="637" y="725"/>
                  </a:lnTo>
                  <a:lnTo>
                    <a:pt x="642" y="726"/>
                  </a:lnTo>
                  <a:lnTo>
                    <a:pt x="648" y="731"/>
                  </a:lnTo>
                  <a:lnTo>
                    <a:pt x="709" y="793"/>
                  </a:lnTo>
                  <a:lnTo>
                    <a:pt x="712" y="794"/>
                  </a:lnTo>
                  <a:lnTo>
                    <a:pt x="716" y="796"/>
                  </a:lnTo>
                  <a:lnTo>
                    <a:pt x="719" y="797"/>
                  </a:lnTo>
                  <a:lnTo>
                    <a:pt x="723" y="797"/>
                  </a:lnTo>
                  <a:lnTo>
                    <a:pt x="726" y="797"/>
                  </a:lnTo>
                  <a:lnTo>
                    <a:pt x="730" y="796"/>
                  </a:lnTo>
                  <a:lnTo>
                    <a:pt x="733" y="794"/>
                  </a:lnTo>
                  <a:lnTo>
                    <a:pt x="736" y="793"/>
                  </a:lnTo>
                  <a:lnTo>
                    <a:pt x="791" y="738"/>
                  </a:lnTo>
                  <a:lnTo>
                    <a:pt x="794" y="735"/>
                  </a:lnTo>
                  <a:lnTo>
                    <a:pt x="795" y="731"/>
                  </a:lnTo>
                  <a:lnTo>
                    <a:pt x="797" y="728"/>
                  </a:lnTo>
                  <a:lnTo>
                    <a:pt x="797" y="724"/>
                  </a:lnTo>
                  <a:lnTo>
                    <a:pt x="797" y="721"/>
                  </a:lnTo>
                  <a:lnTo>
                    <a:pt x="795" y="716"/>
                  </a:lnTo>
                  <a:lnTo>
                    <a:pt x="794" y="713"/>
                  </a:lnTo>
                  <a:lnTo>
                    <a:pt x="791" y="711"/>
                  </a:lnTo>
                  <a:lnTo>
                    <a:pt x="730" y="649"/>
                  </a:lnTo>
                  <a:lnTo>
                    <a:pt x="726" y="643"/>
                  </a:lnTo>
                  <a:lnTo>
                    <a:pt x="725" y="637"/>
                  </a:lnTo>
                  <a:lnTo>
                    <a:pt x="725" y="631"/>
                  </a:lnTo>
                  <a:lnTo>
                    <a:pt x="727" y="626"/>
                  </a:lnTo>
                  <a:lnTo>
                    <a:pt x="739" y="604"/>
                  </a:lnTo>
                  <a:lnTo>
                    <a:pt x="749" y="582"/>
                  </a:lnTo>
                  <a:lnTo>
                    <a:pt x="758" y="561"/>
                  </a:lnTo>
                  <a:lnTo>
                    <a:pt x="763" y="538"/>
                  </a:lnTo>
                  <a:lnTo>
                    <a:pt x="766" y="531"/>
                  </a:lnTo>
                  <a:lnTo>
                    <a:pt x="771" y="526"/>
                  </a:lnTo>
                  <a:lnTo>
                    <a:pt x="776" y="523"/>
                  </a:lnTo>
                  <a:lnTo>
                    <a:pt x="782" y="522"/>
                  </a:lnTo>
                  <a:lnTo>
                    <a:pt x="869" y="522"/>
                  </a:lnTo>
                  <a:lnTo>
                    <a:pt x="873" y="522"/>
                  </a:lnTo>
                  <a:lnTo>
                    <a:pt x="876" y="520"/>
                  </a:lnTo>
                  <a:lnTo>
                    <a:pt x="880" y="519"/>
                  </a:lnTo>
                  <a:lnTo>
                    <a:pt x="883" y="516"/>
                  </a:lnTo>
                  <a:lnTo>
                    <a:pt x="886" y="513"/>
                  </a:lnTo>
                  <a:lnTo>
                    <a:pt x="887" y="510"/>
                  </a:lnTo>
                  <a:lnTo>
                    <a:pt x="887" y="507"/>
                  </a:lnTo>
                  <a:lnTo>
                    <a:pt x="889" y="503"/>
                  </a:lnTo>
                  <a:lnTo>
                    <a:pt x="889" y="425"/>
                  </a:lnTo>
                  <a:lnTo>
                    <a:pt x="887" y="423"/>
                  </a:lnTo>
                  <a:lnTo>
                    <a:pt x="887" y="418"/>
                  </a:lnTo>
                  <a:lnTo>
                    <a:pt x="884" y="415"/>
                  </a:lnTo>
                  <a:lnTo>
                    <a:pt x="883" y="412"/>
                  </a:lnTo>
                  <a:lnTo>
                    <a:pt x="880" y="410"/>
                  </a:lnTo>
                  <a:lnTo>
                    <a:pt x="877" y="408"/>
                  </a:lnTo>
                  <a:lnTo>
                    <a:pt x="873" y="407"/>
                  </a:lnTo>
                  <a:lnTo>
                    <a:pt x="869" y="407"/>
                  </a:lnTo>
                  <a:lnTo>
                    <a:pt x="782" y="407"/>
                  </a:lnTo>
                  <a:lnTo>
                    <a:pt x="776" y="405"/>
                  </a:lnTo>
                  <a:lnTo>
                    <a:pt x="771" y="402"/>
                  </a:lnTo>
                  <a:lnTo>
                    <a:pt x="766" y="398"/>
                  </a:lnTo>
                  <a:lnTo>
                    <a:pt x="763" y="392"/>
                  </a:lnTo>
                  <a:lnTo>
                    <a:pt x="758" y="369"/>
                  </a:lnTo>
                  <a:lnTo>
                    <a:pt x="749" y="346"/>
                  </a:lnTo>
                  <a:lnTo>
                    <a:pt x="739" y="325"/>
                  </a:lnTo>
                  <a:lnTo>
                    <a:pt x="727" y="303"/>
                  </a:lnTo>
                  <a:lnTo>
                    <a:pt x="725" y="297"/>
                  </a:lnTo>
                  <a:lnTo>
                    <a:pt x="725" y="291"/>
                  </a:lnTo>
                  <a:lnTo>
                    <a:pt x="726" y="286"/>
                  </a:lnTo>
                  <a:lnTo>
                    <a:pt x="730" y="280"/>
                  </a:lnTo>
                  <a:lnTo>
                    <a:pt x="791" y="218"/>
                  </a:lnTo>
                  <a:lnTo>
                    <a:pt x="794" y="215"/>
                  </a:lnTo>
                  <a:lnTo>
                    <a:pt x="795" y="212"/>
                  </a:lnTo>
                  <a:lnTo>
                    <a:pt x="797" y="209"/>
                  </a:lnTo>
                  <a:lnTo>
                    <a:pt x="797" y="205"/>
                  </a:lnTo>
                  <a:lnTo>
                    <a:pt x="797" y="201"/>
                  </a:lnTo>
                  <a:lnTo>
                    <a:pt x="795" y="198"/>
                  </a:lnTo>
                  <a:lnTo>
                    <a:pt x="794" y="193"/>
                  </a:lnTo>
                  <a:lnTo>
                    <a:pt x="791" y="191"/>
                  </a:lnTo>
                  <a:lnTo>
                    <a:pt x="736" y="136"/>
                  </a:lnTo>
                  <a:lnTo>
                    <a:pt x="733" y="134"/>
                  </a:lnTo>
                  <a:lnTo>
                    <a:pt x="730" y="133"/>
                  </a:lnTo>
                  <a:lnTo>
                    <a:pt x="726" y="132"/>
                  </a:lnTo>
                  <a:lnTo>
                    <a:pt x="723" y="132"/>
                  </a:lnTo>
                  <a:lnTo>
                    <a:pt x="719" y="132"/>
                  </a:lnTo>
                  <a:lnTo>
                    <a:pt x="716" y="133"/>
                  </a:lnTo>
                  <a:lnTo>
                    <a:pt x="712" y="134"/>
                  </a:lnTo>
                  <a:lnTo>
                    <a:pt x="709" y="136"/>
                  </a:lnTo>
                  <a:lnTo>
                    <a:pt x="648" y="198"/>
                  </a:lnTo>
                  <a:lnTo>
                    <a:pt x="642" y="202"/>
                  </a:lnTo>
                  <a:lnTo>
                    <a:pt x="637" y="204"/>
                  </a:lnTo>
                  <a:lnTo>
                    <a:pt x="630" y="204"/>
                  </a:lnTo>
                  <a:lnTo>
                    <a:pt x="624" y="201"/>
                  </a:lnTo>
                  <a:lnTo>
                    <a:pt x="604" y="189"/>
                  </a:lnTo>
                  <a:lnTo>
                    <a:pt x="582" y="179"/>
                  </a:lnTo>
                  <a:lnTo>
                    <a:pt x="559" y="170"/>
                  </a:lnTo>
                  <a:lnTo>
                    <a:pt x="536" y="165"/>
                  </a:lnTo>
                  <a:lnTo>
                    <a:pt x="530" y="162"/>
                  </a:lnTo>
                  <a:lnTo>
                    <a:pt x="526" y="157"/>
                  </a:lnTo>
                  <a:lnTo>
                    <a:pt x="523" y="152"/>
                  </a:lnTo>
                  <a:lnTo>
                    <a:pt x="522" y="146"/>
                  </a:lnTo>
                  <a:lnTo>
                    <a:pt x="522" y="58"/>
                  </a:lnTo>
                  <a:lnTo>
                    <a:pt x="522" y="55"/>
                  </a:lnTo>
                  <a:lnTo>
                    <a:pt x="520" y="51"/>
                  </a:lnTo>
                  <a:lnTo>
                    <a:pt x="519" y="48"/>
                  </a:lnTo>
                  <a:lnTo>
                    <a:pt x="516" y="45"/>
                  </a:lnTo>
                  <a:lnTo>
                    <a:pt x="513" y="42"/>
                  </a:lnTo>
                  <a:lnTo>
                    <a:pt x="510" y="41"/>
                  </a:lnTo>
                  <a:lnTo>
                    <a:pt x="506" y="39"/>
                  </a:lnTo>
                  <a:lnTo>
                    <a:pt x="503" y="39"/>
                  </a:lnTo>
                  <a:lnTo>
                    <a:pt x="425" y="39"/>
                  </a:lnTo>
                  <a:lnTo>
                    <a:pt x="421" y="39"/>
                  </a:lnTo>
                  <a:lnTo>
                    <a:pt x="418" y="41"/>
                  </a:lnTo>
                  <a:lnTo>
                    <a:pt x="414" y="42"/>
                  </a:lnTo>
                  <a:lnTo>
                    <a:pt x="411" y="45"/>
                  </a:lnTo>
                  <a:lnTo>
                    <a:pt x="409" y="48"/>
                  </a:lnTo>
                  <a:lnTo>
                    <a:pt x="408" y="51"/>
                  </a:lnTo>
                  <a:lnTo>
                    <a:pt x="406" y="55"/>
                  </a:lnTo>
                  <a:lnTo>
                    <a:pt x="406" y="58"/>
                  </a:lnTo>
                  <a:lnTo>
                    <a:pt x="406" y="146"/>
                  </a:lnTo>
                  <a:lnTo>
                    <a:pt x="405" y="152"/>
                  </a:lnTo>
                  <a:lnTo>
                    <a:pt x="402" y="157"/>
                  </a:lnTo>
                  <a:lnTo>
                    <a:pt x="396" y="162"/>
                  </a:lnTo>
                  <a:lnTo>
                    <a:pt x="390" y="165"/>
                  </a:lnTo>
                  <a:lnTo>
                    <a:pt x="367" y="170"/>
                  </a:lnTo>
                  <a:lnTo>
                    <a:pt x="346" y="179"/>
                  </a:lnTo>
                  <a:lnTo>
                    <a:pt x="324" y="189"/>
                  </a:lnTo>
                  <a:lnTo>
                    <a:pt x="303" y="201"/>
                  </a:lnTo>
                  <a:lnTo>
                    <a:pt x="297" y="204"/>
                  </a:lnTo>
                  <a:lnTo>
                    <a:pt x="291" y="204"/>
                  </a:lnTo>
                  <a:lnTo>
                    <a:pt x="284" y="202"/>
                  </a:lnTo>
                  <a:lnTo>
                    <a:pt x="280" y="198"/>
                  </a:lnTo>
                  <a:lnTo>
                    <a:pt x="218" y="137"/>
                  </a:lnTo>
                  <a:lnTo>
                    <a:pt x="215" y="134"/>
                  </a:lnTo>
                  <a:lnTo>
                    <a:pt x="212" y="133"/>
                  </a:lnTo>
                  <a:lnTo>
                    <a:pt x="208" y="132"/>
                  </a:lnTo>
                  <a:lnTo>
                    <a:pt x="205" y="132"/>
                  </a:lnTo>
                  <a:lnTo>
                    <a:pt x="200" y="132"/>
                  </a:lnTo>
                  <a:lnTo>
                    <a:pt x="196" y="133"/>
                  </a:lnTo>
                  <a:lnTo>
                    <a:pt x="193" y="134"/>
                  </a:lnTo>
                  <a:lnTo>
                    <a:pt x="190" y="137"/>
                  </a:lnTo>
                  <a:lnTo>
                    <a:pt x="136" y="191"/>
                  </a:lnTo>
                  <a:lnTo>
                    <a:pt x="133" y="195"/>
                  </a:lnTo>
                  <a:lnTo>
                    <a:pt x="131" y="198"/>
                  </a:lnTo>
                  <a:lnTo>
                    <a:pt x="131" y="201"/>
                  </a:lnTo>
                  <a:lnTo>
                    <a:pt x="130" y="205"/>
                  </a:lnTo>
                  <a:lnTo>
                    <a:pt x="131" y="208"/>
                  </a:lnTo>
                  <a:lnTo>
                    <a:pt x="131" y="212"/>
                  </a:lnTo>
                  <a:lnTo>
                    <a:pt x="133" y="215"/>
                  </a:lnTo>
                  <a:lnTo>
                    <a:pt x="136" y="218"/>
                  </a:lnTo>
                  <a:lnTo>
                    <a:pt x="198" y="280"/>
                  </a:lnTo>
                  <a:lnTo>
                    <a:pt x="200" y="286"/>
                  </a:lnTo>
                  <a:lnTo>
                    <a:pt x="203" y="291"/>
                  </a:lnTo>
                  <a:lnTo>
                    <a:pt x="202" y="297"/>
                  </a:lnTo>
                  <a:lnTo>
                    <a:pt x="200" y="304"/>
                  </a:lnTo>
                  <a:lnTo>
                    <a:pt x="189" y="325"/>
                  </a:lnTo>
                  <a:lnTo>
                    <a:pt x="179" y="346"/>
                  </a:lnTo>
                  <a:lnTo>
                    <a:pt x="170" y="369"/>
                  </a:lnTo>
                  <a:lnTo>
                    <a:pt x="163" y="392"/>
                  </a:lnTo>
                  <a:lnTo>
                    <a:pt x="162" y="398"/>
                  </a:lnTo>
                  <a:lnTo>
                    <a:pt x="157" y="402"/>
                  </a:lnTo>
                  <a:lnTo>
                    <a:pt x="151" y="405"/>
                  </a:lnTo>
                  <a:lnTo>
                    <a:pt x="144" y="407"/>
                  </a:lnTo>
                  <a:lnTo>
                    <a:pt x="58" y="407"/>
                  </a:lnTo>
                  <a:lnTo>
                    <a:pt x="54" y="407"/>
                  </a:lnTo>
                  <a:lnTo>
                    <a:pt x="51" y="408"/>
                  </a:lnTo>
                  <a:lnTo>
                    <a:pt x="48" y="410"/>
                  </a:lnTo>
                  <a:lnTo>
                    <a:pt x="45" y="412"/>
                  </a:lnTo>
                  <a:lnTo>
                    <a:pt x="42" y="415"/>
                  </a:lnTo>
                  <a:lnTo>
                    <a:pt x="41" y="418"/>
                  </a:lnTo>
                  <a:lnTo>
                    <a:pt x="39" y="423"/>
                  </a:lnTo>
                  <a:lnTo>
                    <a:pt x="39" y="425"/>
                  </a:lnTo>
                  <a:lnTo>
                    <a:pt x="39" y="503"/>
                  </a:lnTo>
                  <a:lnTo>
                    <a:pt x="39" y="507"/>
                  </a:lnTo>
                  <a:lnTo>
                    <a:pt x="41" y="510"/>
                  </a:lnTo>
                  <a:lnTo>
                    <a:pt x="42" y="513"/>
                  </a:lnTo>
                  <a:lnTo>
                    <a:pt x="45" y="516"/>
                  </a:lnTo>
                  <a:lnTo>
                    <a:pt x="48" y="519"/>
                  </a:lnTo>
                  <a:lnTo>
                    <a:pt x="51" y="520"/>
                  </a:lnTo>
                  <a:lnTo>
                    <a:pt x="54" y="522"/>
                  </a:lnTo>
                  <a:lnTo>
                    <a:pt x="58" y="522"/>
                  </a:lnTo>
                  <a:lnTo>
                    <a:pt x="144" y="522"/>
                  </a:lnTo>
                  <a:lnTo>
                    <a:pt x="151" y="523"/>
                  </a:lnTo>
                  <a:lnTo>
                    <a:pt x="157" y="526"/>
                  </a:lnTo>
                  <a:lnTo>
                    <a:pt x="162" y="531"/>
                  </a:lnTo>
                  <a:lnTo>
                    <a:pt x="163" y="538"/>
                  </a:lnTo>
                  <a:lnTo>
                    <a:pt x="170" y="561"/>
                  </a:lnTo>
                  <a:lnTo>
                    <a:pt x="179" y="582"/>
                  </a:lnTo>
                  <a:lnTo>
                    <a:pt x="189" y="604"/>
                  </a:lnTo>
                  <a:lnTo>
                    <a:pt x="200" y="626"/>
                  </a:lnTo>
                  <a:lnTo>
                    <a:pt x="202" y="631"/>
                  </a:lnTo>
                  <a:lnTo>
                    <a:pt x="203" y="637"/>
                  </a:lnTo>
                  <a:lnTo>
                    <a:pt x="200" y="643"/>
                  </a:lnTo>
                  <a:lnTo>
                    <a:pt x="198" y="649"/>
                  </a:lnTo>
                  <a:lnTo>
                    <a:pt x="136" y="711"/>
                  </a:lnTo>
                  <a:lnTo>
                    <a:pt x="134" y="713"/>
                  </a:lnTo>
                  <a:lnTo>
                    <a:pt x="131" y="716"/>
                  </a:lnTo>
                  <a:lnTo>
                    <a:pt x="131" y="721"/>
                  </a:lnTo>
                  <a:lnTo>
                    <a:pt x="130" y="724"/>
                  </a:lnTo>
                  <a:lnTo>
                    <a:pt x="131" y="728"/>
                  </a:lnTo>
                  <a:lnTo>
                    <a:pt x="131" y="731"/>
                  </a:lnTo>
                  <a:lnTo>
                    <a:pt x="134" y="735"/>
                  </a:lnTo>
                  <a:lnTo>
                    <a:pt x="136" y="738"/>
                  </a:lnTo>
                  <a:lnTo>
                    <a:pt x="190" y="793"/>
                  </a:lnTo>
                  <a:lnTo>
                    <a:pt x="193" y="794"/>
                  </a:lnTo>
                  <a:lnTo>
                    <a:pt x="196" y="796"/>
                  </a:lnTo>
                  <a:lnTo>
                    <a:pt x="200" y="797"/>
                  </a:lnTo>
                  <a:lnTo>
                    <a:pt x="205" y="797"/>
                  </a:lnTo>
                  <a:lnTo>
                    <a:pt x="208" y="797"/>
                  </a:lnTo>
                  <a:lnTo>
                    <a:pt x="212" y="796"/>
                  </a:lnTo>
                  <a:lnTo>
                    <a:pt x="215" y="794"/>
                  </a:lnTo>
                  <a:lnTo>
                    <a:pt x="218" y="793"/>
                  </a:lnTo>
                  <a:lnTo>
                    <a:pt x="280" y="731"/>
                  </a:lnTo>
                  <a:lnTo>
                    <a:pt x="282" y="728"/>
                  </a:lnTo>
                  <a:lnTo>
                    <a:pt x="285" y="726"/>
                  </a:lnTo>
                  <a:lnTo>
                    <a:pt x="290" y="725"/>
                  </a:lnTo>
                  <a:lnTo>
                    <a:pt x="293" y="725"/>
                  </a:lnTo>
                  <a:close/>
                  <a:moveTo>
                    <a:pt x="503" y="928"/>
                  </a:moveTo>
                  <a:lnTo>
                    <a:pt x="425" y="928"/>
                  </a:lnTo>
                  <a:lnTo>
                    <a:pt x="414" y="927"/>
                  </a:lnTo>
                  <a:lnTo>
                    <a:pt x="402" y="924"/>
                  </a:lnTo>
                  <a:lnTo>
                    <a:pt x="392" y="918"/>
                  </a:lnTo>
                  <a:lnTo>
                    <a:pt x="383" y="911"/>
                  </a:lnTo>
                  <a:lnTo>
                    <a:pt x="378" y="902"/>
                  </a:lnTo>
                  <a:lnTo>
                    <a:pt x="372" y="892"/>
                  </a:lnTo>
                  <a:lnTo>
                    <a:pt x="369" y="882"/>
                  </a:lnTo>
                  <a:lnTo>
                    <a:pt x="367" y="870"/>
                  </a:lnTo>
                  <a:lnTo>
                    <a:pt x="367" y="798"/>
                  </a:lnTo>
                  <a:lnTo>
                    <a:pt x="349" y="793"/>
                  </a:lnTo>
                  <a:lnTo>
                    <a:pt x="330" y="785"/>
                  </a:lnTo>
                  <a:lnTo>
                    <a:pt x="313" y="777"/>
                  </a:lnTo>
                  <a:lnTo>
                    <a:pt x="295" y="768"/>
                  </a:lnTo>
                  <a:lnTo>
                    <a:pt x="245" y="820"/>
                  </a:lnTo>
                  <a:lnTo>
                    <a:pt x="236" y="827"/>
                  </a:lnTo>
                  <a:lnTo>
                    <a:pt x="226" y="832"/>
                  </a:lnTo>
                  <a:lnTo>
                    <a:pt x="215" y="834"/>
                  </a:lnTo>
                  <a:lnTo>
                    <a:pt x="205" y="836"/>
                  </a:lnTo>
                  <a:lnTo>
                    <a:pt x="193" y="834"/>
                  </a:lnTo>
                  <a:lnTo>
                    <a:pt x="182" y="832"/>
                  </a:lnTo>
                  <a:lnTo>
                    <a:pt x="172" y="827"/>
                  </a:lnTo>
                  <a:lnTo>
                    <a:pt x="163" y="820"/>
                  </a:lnTo>
                  <a:lnTo>
                    <a:pt x="108" y="765"/>
                  </a:lnTo>
                  <a:lnTo>
                    <a:pt x="101" y="757"/>
                  </a:lnTo>
                  <a:lnTo>
                    <a:pt x="95" y="747"/>
                  </a:lnTo>
                  <a:lnTo>
                    <a:pt x="92" y="735"/>
                  </a:lnTo>
                  <a:lnTo>
                    <a:pt x="91" y="724"/>
                  </a:lnTo>
                  <a:lnTo>
                    <a:pt x="92" y="712"/>
                  </a:lnTo>
                  <a:lnTo>
                    <a:pt x="95" y="702"/>
                  </a:lnTo>
                  <a:lnTo>
                    <a:pt x="101" y="692"/>
                  </a:lnTo>
                  <a:lnTo>
                    <a:pt x="108" y="683"/>
                  </a:lnTo>
                  <a:lnTo>
                    <a:pt x="160" y="631"/>
                  </a:lnTo>
                  <a:lnTo>
                    <a:pt x="150" y="616"/>
                  </a:lnTo>
                  <a:lnTo>
                    <a:pt x="143" y="597"/>
                  </a:lnTo>
                  <a:lnTo>
                    <a:pt x="136" y="580"/>
                  </a:lnTo>
                  <a:lnTo>
                    <a:pt x="130" y="561"/>
                  </a:lnTo>
                  <a:lnTo>
                    <a:pt x="58" y="561"/>
                  </a:lnTo>
                  <a:lnTo>
                    <a:pt x="46" y="559"/>
                  </a:lnTo>
                  <a:lnTo>
                    <a:pt x="36" y="556"/>
                  </a:lnTo>
                  <a:lnTo>
                    <a:pt x="26" y="551"/>
                  </a:lnTo>
                  <a:lnTo>
                    <a:pt x="18" y="543"/>
                  </a:lnTo>
                  <a:lnTo>
                    <a:pt x="10" y="535"/>
                  </a:lnTo>
                  <a:lnTo>
                    <a:pt x="5" y="526"/>
                  </a:lnTo>
                  <a:lnTo>
                    <a:pt x="2" y="515"/>
                  </a:lnTo>
                  <a:lnTo>
                    <a:pt x="0" y="503"/>
                  </a:lnTo>
                  <a:lnTo>
                    <a:pt x="0" y="425"/>
                  </a:lnTo>
                  <a:lnTo>
                    <a:pt x="2" y="414"/>
                  </a:lnTo>
                  <a:lnTo>
                    <a:pt x="5" y="404"/>
                  </a:lnTo>
                  <a:lnTo>
                    <a:pt x="10" y="394"/>
                  </a:lnTo>
                  <a:lnTo>
                    <a:pt x="18" y="385"/>
                  </a:lnTo>
                  <a:lnTo>
                    <a:pt x="26" y="378"/>
                  </a:lnTo>
                  <a:lnTo>
                    <a:pt x="36" y="372"/>
                  </a:lnTo>
                  <a:lnTo>
                    <a:pt x="46" y="369"/>
                  </a:lnTo>
                  <a:lnTo>
                    <a:pt x="58" y="368"/>
                  </a:lnTo>
                  <a:lnTo>
                    <a:pt x="130" y="368"/>
                  </a:lnTo>
                  <a:lnTo>
                    <a:pt x="136" y="349"/>
                  </a:lnTo>
                  <a:lnTo>
                    <a:pt x="143" y="332"/>
                  </a:lnTo>
                  <a:lnTo>
                    <a:pt x="150" y="314"/>
                  </a:lnTo>
                  <a:lnTo>
                    <a:pt x="160" y="297"/>
                  </a:lnTo>
                  <a:lnTo>
                    <a:pt x="108" y="245"/>
                  </a:lnTo>
                  <a:lnTo>
                    <a:pt x="101" y="237"/>
                  </a:lnTo>
                  <a:lnTo>
                    <a:pt x="95" y="227"/>
                  </a:lnTo>
                  <a:lnTo>
                    <a:pt x="92" y="217"/>
                  </a:lnTo>
                  <a:lnTo>
                    <a:pt x="91" y="205"/>
                  </a:lnTo>
                  <a:lnTo>
                    <a:pt x="92" y="193"/>
                  </a:lnTo>
                  <a:lnTo>
                    <a:pt x="95" y="183"/>
                  </a:lnTo>
                  <a:lnTo>
                    <a:pt x="101" y="173"/>
                  </a:lnTo>
                  <a:lnTo>
                    <a:pt x="108" y="163"/>
                  </a:lnTo>
                  <a:lnTo>
                    <a:pt x="163" y="110"/>
                  </a:lnTo>
                  <a:lnTo>
                    <a:pt x="172" y="103"/>
                  </a:lnTo>
                  <a:lnTo>
                    <a:pt x="182" y="97"/>
                  </a:lnTo>
                  <a:lnTo>
                    <a:pt x="193" y="94"/>
                  </a:lnTo>
                  <a:lnTo>
                    <a:pt x="205" y="93"/>
                  </a:lnTo>
                  <a:lnTo>
                    <a:pt x="215" y="94"/>
                  </a:lnTo>
                  <a:lnTo>
                    <a:pt x="226" y="97"/>
                  </a:lnTo>
                  <a:lnTo>
                    <a:pt x="236" y="103"/>
                  </a:lnTo>
                  <a:lnTo>
                    <a:pt x="245" y="110"/>
                  </a:lnTo>
                  <a:lnTo>
                    <a:pt x="295" y="160"/>
                  </a:lnTo>
                  <a:lnTo>
                    <a:pt x="313" y="152"/>
                  </a:lnTo>
                  <a:lnTo>
                    <a:pt x="330" y="143"/>
                  </a:lnTo>
                  <a:lnTo>
                    <a:pt x="349" y="136"/>
                  </a:lnTo>
                  <a:lnTo>
                    <a:pt x="367" y="130"/>
                  </a:lnTo>
                  <a:lnTo>
                    <a:pt x="367" y="58"/>
                  </a:lnTo>
                  <a:lnTo>
                    <a:pt x="369" y="47"/>
                  </a:lnTo>
                  <a:lnTo>
                    <a:pt x="372" y="36"/>
                  </a:lnTo>
                  <a:lnTo>
                    <a:pt x="378" y="26"/>
                  </a:lnTo>
                  <a:lnTo>
                    <a:pt x="383" y="18"/>
                  </a:lnTo>
                  <a:lnTo>
                    <a:pt x="392" y="11"/>
                  </a:lnTo>
                  <a:lnTo>
                    <a:pt x="402" y="5"/>
                  </a:lnTo>
                  <a:lnTo>
                    <a:pt x="414" y="2"/>
                  </a:lnTo>
                  <a:lnTo>
                    <a:pt x="425" y="0"/>
                  </a:lnTo>
                  <a:lnTo>
                    <a:pt x="503" y="0"/>
                  </a:lnTo>
                  <a:lnTo>
                    <a:pt x="514" y="2"/>
                  </a:lnTo>
                  <a:lnTo>
                    <a:pt x="524" y="5"/>
                  </a:lnTo>
                  <a:lnTo>
                    <a:pt x="534" y="11"/>
                  </a:lnTo>
                  <a:lnTo>
                    <a:pt x="543" y="18"/>
                  </a:lnTo>
                  <a:lnTo>
                    <a:pt x="550" y="26"/>
                  </a:lnTo>
                  <a:lnTo>
                    <a:pt x="556" y="36"/>
                  </a:lnTo>
                  <a:lnTo>
                    <a:pt x="559" y="47"/>
                  </a:lnTo>
                  <a:lnTo>
                    <a:pt x="560" y="58"/>
                  </a:lnTo>
                  <a:lnTo>
                    <a:pt x="560" y="130"/>
                  </a:lnTo>
                  <a:lnTo>
                    <a:pt x="579" y="137"/>
                  </a:lnTo>
                  <a:lnTo>
                    <a:pt x="596" y="143"/>
                  </a:lnTo>
                  <a:lnTo>
                    <a:pt x="614" y="152"/>
                  </a:lnTo>
                  <a:lnTo>
                    <a:pt x="631" y="160"/>
                  </a:lnTo>
                  <a:lnTo>
                    <a:pt x="681" y="110"/>
                  </a:lnTo>
                  <a:lnTo>
                    <a:pt x="691" y="103"/>
                  </a:lnTo>
                  <a:lnTo>
                    <a:pt x="702" y="97"/>
                  </a:lnTo>
                  <a:lnTo>
                    <a:pt x="712" y="94"/>
                  </a:lnTo>
                  <a:lnTo>
                    <a:pt x="723" y="93"/>
                  </a:lnTo>
                  <a:lnTo>
                    <a:pt x="735" y="94"/>
                  </a:lnTo>
                  <a:lnTo>
                    <a:pt x="745" y="97"/>
                  </a:lnTo>
                  <a:lnTo>
                    <a:pt x="755" y="103"/>
                  </a:lnTo>
                  <a:lnTo>
                    <a:pt x="763" y="110"/>
                  </a:lnTo>
                  <a:lnTo>
                    <a:pt x="818" y="163"/>
                  </a:lnTo>
                  <a:lnTo>
                    <a:pt x="825" y="173"/>
                  </a:lnTo>
                  <a:lnTo>
                    <a:pt x="831" y="182"/>
                  </a:lnTo>
                  <a:lnTo>
                    <a:pt x="834" y="193"/>
                  </a:lnTo>
                  <a:lnTo>
                    <a:pt x="835" y="205"/>
                  </a:lnTo>
                  <a:lnTo>
                    <a:pt x="834" y="217"/>
                  </a:lnTo>
                  <a:lnTo>
                    <a:pt x="831" y="227"/>
                  </a:lnTo>
                  <a:lnTo>
                    <a:pt x="825" y="237"/>
                  </a:lnTo>
                  <a:lnTo>
                    <a:pt x="818" y="245"/>
                  </a:lnTo>
                  <a:lnTo>
                    <a:pt x="768" y="297"/>
                  </a:lnTo>
                  <a:lnTo>
                    <a:pt x="776" y="314"/>
                  </a:lnTo>
                  <a:lnTo>
                    <a:pt x="785" y="332"/>
                  </a:lnTo>
                  <a:lnTo>
                    <a:pt x="791" y="349"/>
                  </a:lnTo>
                  <a:lnTo>
                    <a:pt x="797" y="368"/>
                  </a:lnTo>
                  <a:lnTo>
                    <a:pt x="869" y="368"/>
                  </a:lnTo>
                  <a:lnTo>
                    <a:pt x="880" y="369"/>
                  </a:lnTo>
                  <a:lnTo>
                    <a:pt x="892" y="372"/>
                  </a:lnTo>
                  <a:lnTo>
                    <a:pt x="902" y="378"/>
                  </a:lnTo>
                  <a:lnTo>
                    <a:pt x="910" y="385"/>
                  </a:lnTo>
                  <a:lnTo>
                    <a:pt x="918" y="394"/>
                  </a:lnTo>
                  <a:lnTo>
                    <a:pt x="922" y="404"/>
                  </a:lnTo>
                  <a:lnTo>
                    <a:pt x="926" y="414"/>
                  </a:lnTo>
                  <a:lnTo>
                    <a:pt x="928" y="425"/>
                  </a:lnTo>
                  <a:lnTo>
                    <a:pt x="928" y="503"/>
                  </a:lnTo>
                  <a:lnTo>
                    <a:pt x="926" y="515"/>
                  </a:lnTo>
                  <a:lnTo>
                    <a:pt x="923" y="525"/>
                  </a:lnTo>
                  <a:lnTo>
                    <a:pt x="918" y="535"/>
                  </a:lnTo>
                  <a:lnTo>
                    <a:pt x="910" y="543"/>
                  </a:lnTo>
                  <a:lnTo>
                    <a:pt x="902" y="551"/>
                  </a:lnTo>
                  <a:lnTo>
                    <a:pt x="892" y="556"/>
                  </a:lnTo>
                  <a:lnTo>
                    <a:pt x="880" y="559"/>
                  </a:lnTo>
                  <a:lnTo>
                    <a:pt x="869" y="561"/>
                  </a:lnTo>
                  <a:lnTo>
                    <a:pt x="797" y="561"/>
                  </a:lnTo>
                  <a:lnTo>
                    <a:pt x="791" y="580"/>
                  </a:lnTo>
                  <a:lnTo>
                    <a:pt x="785" y="597"/>
                  </a:lnTo>
                  <a:lnTo>
                    <a:pt x="776" y="616"/>
                  </a:lnTo>
                  <a:lnTo>
                    <a:pt x="768" y="631"/>
                  </a:lnTo>
                  <a:lnTo>
                    <a:pt x="818" y="683"/>
                  </a:lnTo>
                  <a:lnTo>
                    <a:pt x="825" y="692"/>
                  </a:lnTo>
                  <a:lnTo>
                    <a:pt x="831" y="702"/>
                  </a:lnTo>
                  <a:lnTo>
                    <a:pt x="834" y="713"/>
                  </a:lnTo>
                  <a:lnTo>
                    <a:pt x="835" y="724"/>
                  </a:lnTo>
                  <a:lnTo>
                    <a:pt x="834" y="735"/>
                  </a:lnTo>
                  <a:lnTo>
                    <a:pt x="831" y="745"/>
                  </a:lnTo>
                  <a:lnTo>
                    <a:pt x="825" y="755"/>
                  </a:lnTo>
                  <a:lnTo>
                    <a:pt x="818" y="765"/>
                  </a:lnTo>
                  <a:lnTo>
                    <a:pt x="763" y="820"/>
                  </a:lnTo>
                  <a:lnTo>
                    <a:pt x="755" y="827"/>
                  </a:lnTo>
                  <a:lnTo>
                    <a:pt x="745" y="832"/>
                  </a:lnTo>
                  <a:lnTo>
                    <a:pt x="735" y="834"/>
                  </a:lnTo>
                  <a:lnTo>
                    <a:pt x="723" y="836"/>
                  </a:lnTo>
                  <a:lnTo>
                    <a:pt x="712" y="834"/>
                  </a:lnTo>
                  <a:lnTo>
                    <a:pt x="702" y="832"/>
                  </a:lnTo>
                  <a:lnTo>
                    <a:pt x="691" y="827"/>
                  </a:lnTo>
                  <a:lnTo>
                    <a:pt x="681" y="820"/>
                  </a:lnTo>
                  <a:lnTo>
                    <a:pt x="631" y="768"/>
                  </a:lnTo>
                  <a:lnTo>
                    <a:pt x="614" y="777"/>
                  </a:lnTo>
                  <a:lnTo>
                    <a:pt x="596" y="785"/>
                  </a:lnTo>
                  <a:lnTo>
                    <a:pt x="579" y="793"/>
                  </a:lnTo>
                  <a:lnTo>
                    <a:pt x="560" y="798"/>
                  </a:lnTo>
                  <a:lnTo>
                    <a:pt x="560" y="870"/>
                  </a:lnTo>
                  <a:lnTo>
                    <a:pt x="559" y="882"/>
                  </a:lnTo>
                  <a:lnTo>
                    <a:pt x="556" y="892"/>
                  </a:lnTo>
                  <a:lnTo>
                    <a:pt x="550" y="902"/>
                  </a:lnTo>
                  <a:lnTo>
                    <a:pt x="543" y="911"/>
                  </a:lnTo>
                  <a:lnTo>
                    <a:pt x="534" y="918"/>
                  </a:lnTo>
                  <a:lnTo>
                    <a:pt x="524" y="924"/>
                  </a:lnTo>
                  <a:lnTo>
                    <a:pt x="514" y="927"/>
                  </a:lnTo>
                  <a:lnTo>
                    <a:pt x="503" y="928"/>
                  </a:lnTo>
                  <a:close/>
                </a:path>
              </a:pathLst>
            </a:custGeom>
            <a:grpFill/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17" name="Freeform 468"/>
            <p:cNvSpPr>
              <a:spLocks noEditPoints="1"/>
            </p:cNvSpPr>
            <p:nvPr/>
          </p:nvSpPr>
          <p:spPr bwMode="auto">
            <a:xfrm>
              <a:off x="5140870" y="3894917"/>
              <a:ext cx="187823" cy="186367"/>
            </a:xfrm>
            <a:custGeom>
              <a:avLst/>
              <a:gdLst>
                <a:gd name="T0" fmla="*/ 161 w 386"/>
                <a:gd name="T1" fmla="*/ 42 h 386"/>
                <a:gd name="T2" fmla="*/ 119 w 386"/>
                <a:gd name="T3" fmla="*/ 58 h 386"/>
                <a:gd name="T4" fmla="*/ 83 w 386"/>
                <a:gd name="T5" fmla="*/ 84 h 386"/>
                <a:gd name="T6" fmla="*/ 56 w 386"/>
                <a:gd name="T7" fmla="*/ 120 h 386"/>
                <a:gd name="T8" fmla="*/ 42 w 386"/>
                <a:gd name="T9" fmla="*/ 162 h 386"/>
                <a:gd name="T10" fmla="*/ 39 w 386"/>
                <a:gd name="T11" fmla="*/ 209 h 386"/>
                <a:gd name="T12" fmla="*/ 50 w 386"/>
                <a:gd name="T13" fmla="*/ 254 h 386"/>
                <a:gd name="T14" fmla="*/ 73 w 386"/>
                <a:gd name="T15" fmla="*/ 291 h 386"/>
                <a:gd name="T16" fmla="*/ 107 w 386"/>
                <a:gd name="T17" fmla="*/ 321 h 386"/>
                <a:gd name="T18" fmla="*/ 147 w 386"/>
                <a:gd name="T19" fmla="*/ 342 h 386"/>
                <a:gd name="T20" fmla="*/ 193 w 386"/>
                <a:gd name="T21" fmla="*/ 347 h 386"/>
                <a:gd name="T22" fmla="*/ 239 w 386"/>
                <a:gd name="T23" fmla="*/ 342 h 386"/>
                <a:gd name="T24" fmla="*/ 279 w 386"/>
                <a:gd name="T25" fmla="*/ 321 h 386"/>
                <a:gd name="T26" fmla="*/ 311 w 386"/>
                <a:gd name="T27" fmla="*/ 291 h 386"/>
                <a:gd name="T28" fmla="*/ 335 w 386"/>
                <a:gd name="T29" fmla="*/ 254 h 386"/>
                <a:gd name="T30" fmla="*/ 346 w 386"/>
                <a:gd name="T31" fmla="*/ 209 h 386"/>
                <a:gd name="T32" fmla="*/ 344 w 386"/>
                <a:gd name="T33" fmla="*/ 162 h 386"/>
                <a:gd name="T34" fmla="*/ 328 w 386"/>
                <a:gd name="T35" fmla="*/ 120 h 386"/>
                <a:gd name="T36" fmla="*/ 302 w 386"/>
                <a:gd name="T37" fmla="*/ 84 h 386"/>
                <a:gd name="T38" fmla="*/ 266 w 386"/>
                <a:gd name="T39" fmla="*/ 58 h 386"/>
                <a:gd name="T40" fmla="*/ 223 w 386"/>
                <a:gd name="T41" fmla="*/ 42 h 386"/>
                <a:gd name="T42" fmla="*/ 193 w 386"/>
                <a:gd name="T43" fmla="*/ 386 h 386"/>
                <a:gd name="T44" fmla="*/ 135 w 386"/>
                <a:gd name="T45" fmla="*/ 378 h 386"/>
                <a:gd name="T46" fmla="*/ 85 w 386"/>
                <a:gd name="T47" fmla="*/ 353 h 386"/>
                <a:gd name="T48" fmla="*/ 43 w 386"/>
                <a:gd name="T49" fmla="*/ 316 h 386"/>
                <a:gd name="T50" fmla="*/ 14 w 386"/>
                <a:gd name="T51" fmla="*/ 268 h 386"/>
                <a:gd name="T52" fmla="*/ 0 w 386"/>
                <a:gd name="T53" fmla="*/ 213 h 386"/>
                <a:gd name="T54" fmla="*/ 3 w 386"/>
                <a:gd name="T55" fmla="*/ 154 h 386"/>
                <a:gd name="T56" fmla="*/ 23 w 386"/>
                <a:gd name="T57" fmla="*/ 101 h 386"/>
                <a:gd name="T58" fmla="*/ 56 w 386"/>
                <a:gd name="T59" fmla="*/ 56 h 386"/>
                <a:gd name="T60" fmla="*/ 101 w 386"/>
                <a:gd name="T61" fmla="*/ 23 h 386"/>
                <a:gd name="T62" fmla="*/ 154 w 386"/>
                <a:gd name="T63" fmla="*/ 5 h 386"/>
                <a:gd name="T64" fmla="*/ 212 w 386"/>
                <a:gd name="T65" fmla="*/ 2 h 386"/>
                <a:gd name="T66" fmla="*/ 268 w 386"/>
                <a:gd name="T67" fmla="*/ 16 h 386"/>
                <a:gd name="T68" fmla="*/ 315 w 386"/>
                <a:gd name="T69" fmla="*/ 45 h 386"/>
                <a:gd name="T70" fmla="*/ 353 w 386"/>
                <a:gd name="T71" fmla="*/ 85 h 386"/>
                <a:gd name="T72" fmla="*/ 377 w 386"/>
                <a:gd name="T73" fmla="*/ 136 h 386"/>
                <a:gd name="T74" fmla="*/ 386 w 386"/>
                <a:gd name="T75" fmla="*/ 193 h 386"/>
                <a:gd name="T76" fmla="*/ 377 w 386"/>
                <a:gd name="T77" fmla="*/ 251 h 386"/>
                <a:gd name="T78" fmla="*/ 353 w 386"/>
                <a:gd name="T79" fmla="*/ 301 h 386"/>
                <a:gd name="T80" fmla="*/ 315 w 386"/>
                <a:gd name="T81" fmla="*/ 343 h 386"/>
                <a:gd name="T82" fmla="*/ 268 w 386"/>
                <a:gd name="T83" fmla="*/ 372 h 386"/>
                <a:gd name="T84" fmla="*/ 212 w 386"/>
                <a:gd name="T85" fmla="*/ 385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86" h="386">
                  <a:moveTo>
                    <a:pt x="193" y="39"/>
                  </a:moveTo>
                  <a:lnTo>
                    <a:pt x="177" y="39"/>
                  </a:lnTo>
                  <a:lnTo>
                    <a:pt x="161" y="42"/>
                  </a:lnTo>
                  <a:lnTo>
                    <a:pt x="147" y="46"/>
                  </a:lnTo>
                  <a:lnTo>
                    <a:pt x="132" y="51"/>
                  </a:lnTo>
                  <a:lnTo>
                    <a:pt x="119" y="58"/>
                  </a:lnTo>
                  <a:lnTo>
                    <a:pt x="107" y="65"/>
                  </a:lnTo>
                  <a:lnTo>
                    <a:pt x="95" y="74"/>
                  </a:lnTo>
                  <a:lnTo>
                    <a:pt x="83" y="84"/>
                  </a:lnTo>
                  <a:lnTo>
                    <a:pt x="73" y="95"/>
                  </a:lnTo>
                  <a:lnTo>
                    <a:pt x="65" y="107"/>
                  </a:lnTo>
                  <a:lnTo>
                    <a:pt x="56" y="120"/>
                  </a:lnTo>
                  <a:lnTo>
                    <a:pt x="50" y="133"/>
                  </a:lnTo>
                  <a:lnTo>
                    <a:pt x="45" y="147"/>
                  </a:lnTo>
                  <a:lnTo>
                    <a:pt x="42" y="162"/>
                  </a:lnTo>
                  <a:lnTo>
                    <a:pt x="39" y="177"/>
                  </a:lnTo>
                  <a:lnTo>
                    <a:pt x="37" y="193"/>
                  </a:lnTo>
                  <a:lnTo>
                    <a:pt x="39" y="209"/>
                  </a:lnTo>
                  <a:lnTo>
                    <a:pt x="42" y="225"/>
                  </a:lnTo>
                  <a:lnTo>
                    <a:pt x="45" y="239"/>
                  </a:lnTo>
                  <a:lnTo>
                    <a:pt x="50" y="254"/>
                  </a:lnTo>
                  <a:lnTo>
                    <a:pt x="56" y="267"/>
                  </a:lnTo>
                  <a:lnTo>
                    <a:pt x="65" y="280"/>
                  </a:lnTo>
                  <a:lnTo>
                    <a:pt x="73" y="291"/>
                  </a:lnTo>
                  <a:lnTo>
                    <a:pt x="83" y="303"/>
                  </a:lnTo>
                  <a:lnTo>
                    <a:pt x="95" y="313"/>
                  </a:lnTo>
                  <a:lnTo>
                    <a:pt x="107" y="321"/>
                  </a:lnTo>
                  <a:lnTo>
                    <a:pt x="119" y="329"/>
                  </a:lnTo>
                  <a:lnTo>
                    <a:pt x="132" y="336"/>
                  </a:lnTo>
                  <a:lnTo>
                    <a:pt x="147" y="342"/>
                  </a:lnTo>
                  <a:lnTo>
                    <a:pt x="161" y="345"/>
                  </a:lnTo>
                  <a:lnTo>
                    <a:pt x="177" y="347"/>
                  </a:lnTo>
                  <a:lnTo>
                    <a:pt x="193" y="347"/>
                  </a:lnTo>
                  <a:lnTo>
                    <a:pt x="209" y="347"/>
                  </a:lnTo>
                  <a:lnTo>
                    <a:pt x="223" y="345"/>
                  </a:lnTo>
                  <a:lnTo>
                    <a:pt x="239" y="342"/>
                  </a:lnTo>
                  <a:lnTo>
                    <a:pt x="252" y="336"/>
                  </a:lnTo>
                  <a:lnTo>
                    <a:pt x="266" y="329"/>
                  </a:lnTo>
                  <a:lnTo>
                    <a:pt x="279" y="321"/>
                  </a:lnTo>
                  <a:lnTo>
                    <a:pt x="291" y="313"/>
                  </a:lnTo>
                  <a:lnTo>
                    <a:pt x="302" y="303"/>
                  </a:lnTo>
                  <a:lnTo>
                    <a:pt x="311" y="291"/>
                  </a:lnTo>
                  <a:lnTo>
                    <a:pt x="321" y="280"/>
                  </a:lnTo>
                  <a:lnTo>
                    <a:pt x="328" y="267"/>
                  </a:lnTo>
                  <a:lnTo>
                    <a:pt x="335" y="254"/>
                  </a:lnTo>
                  <a:lnTo>
                    <a:pt x="340" y="239"/>
                  </a:lnTo>
                  <a:lnTo>
                    <a:pt x="344" y="225"/>
                  </a:lnTo>
                  <a:lnTo>
                    <a:pt x="346" y="209"/>
                  </a:lnTo>
                  <a:lnTo>
                    <a:pt x="347" y="193"/>
                  </a:lnTo>
                  <a:lnTo>
                    <a:pt x="346" y="177"/>
                  </a:lnTo>
                  <a:lnTo>
                    <a:pt x="344" y="162"/>
                  </a:lnTo>
                  <a:lnTo>
                    <a:pt x="340" y="147"/>
                  </a:lnTo>
                  <a:lnTo>
                    <a:pt x="335" y="133"/>
                  </a:lnTo>
                  <a:lnTo>
                    <a:pt x="328" y="120"/>
                  </a:lnTo>
                  <a:lnTo>
                    <a:pt x="321" y="107"/>
                  </a:lnTo>
                  <a:lnTo>
                    <a:pt x="311" y="95"/>
                  </a:lnTo>
                  <a:lnTo>
                    <a:pt x="302" y="84"/>
                  </a:lnTo>
                  <a:lnTo>
                    <a:pt x="291" y="74"/>
                  </a:lnTo>
                  <a:lnTo>
                    <a:pt x="279" y="65"/>
                  </a:lnTo>
                  <a:lnTo>
                    <a:pt x="266" y="58"/>
                  </a:lnTo>
                  <a:lnTo>
                    <a:pt x="252" y="51"/>
                  </a:lnTo>
                  <a:lnTo>
                    <a:pt x="239" y="46"/>
                  </a:lnTo>
                  <a:lnTo>
                    <a:pt x="223" y="42"/>
                  </a:lnTo>
                  <a:lnTo>
                    <a:pt x="209" y="39"/>
                  </a:lnTo>
                  <a:lnTo>
                    <a:pt x="193" y="39"/>
                  </a:lnTo>
                  <a:close/>
                  <a:moveTo>
                    <a:pt x="193" y="386"/>
                  </a:moveTo>
                  <a:lnTo>
                    <a:pt x="173" y="385"/>
                  </a:lnTo>
                  <a:lnTo>
                    <a:pt x="154" y="382"/>
                  </a:lnTo>
                  <a:lnTo>
                    <a:pt x="135" y="378"/>
                  </a:lnTo>
                  <a:lnTo>
                    <a:pt x="118" y="372"/>
                  </a:lnTo>
                  <a:lnTo>
                    <a:pt x="101" y="363"/>
                  </a:lnTo>
                  <a:lnTo>
                    <a:pt x="85" y="353"/>
                  </a:lnTo>
                  <a:lnTo>
                    <a:pt x="69" y="343"/>
                  </a:lnTo>
                  <a:lnTo>
                    <a:pt x="56" y="330"/>
                  </a:lnTo>
                  <a:lnTo>
                    <a:pt x="43" y="316"/>
                  </a:lnTo>
                  <a:lnTo>
                    <a:pt x="33" y="301"/>
                  </a:lnTo>
                  <a:lnTo>
                    <a:pt x="23" y="285"/>
                  </a:lnTo>
                  <a:lnTo>
                    <a:pt x="14" y="268"/>
                  </a:lnTo>
                  <a:lnTo>
                    <a:pt x="9" y="251"/>
                  </a:lnTo>
                  <a:lnTo>
                    <a:pt x="3" y="232"/>
                  </a:lnTo>
                  <a:lnTo>
                    <a:pt x="0" y="213"/>
                  </a:lnTo>
                  <a:lnTo>
                    <a:pt x="0" y="193"/>
                  </a:lnTo>
                  <a:lnTo>
                    <a:pt x="0" y="173"/>
                  </a:lnTo>
                  <a:lnTo>
                    <a:pt x="3" y="154"/>
                  </a:lnTo>
                  <a:lnTo>
                    <a:pt x="9" y="136"/>
                  </a:lnTo>
                  <a:lnTo>
                    <a:pt x="14" y="118"/>
                  </a:lnTo>
                  <a:lnTo>
                    <a:pt x="23" y="101"/>
                  </a:lnTo>
                  <a:lnTo>
                    <a:pt x="33" y="85"/>
                  </a:lnTo>
                  <a:lnTo>
                    <a:pt x="43" y="71"/>
                  </a:lnTo>
                  <a:lnTo>
                    <a:pt x="56" y="56"/>
                  </a:lnTo>
                  <a:lnTo>
                    <a:pt x="69" y="45"/>
                  </a:lnTo>
                  <a:lnTo>
                    <a:pt x="85" y="33"/>
                  </a:lnTo>
                  <a:lnTo>
                    <a:pt x="101" y="23"/>
                  </a:lnTo>
                  <a:lnTo>
                    <a:pt x="118" y="16"/>
                  </a:lnTo>
                  <a:lnTo>
                    <a:pt x="135" y="9"/>
                  </a:lnTo>
                  <a:lnTo>
                    <a:pt x="154" y="5"/>
                  </a:lnTo>
                  <a:lnTo>
                    <a:pt x="173" y="2"/>
                  </a:lnTo>
                  <a:lnTo>
                    <a:pt x="193" y="0"/>
                  </a:lnTo>
                  <a:lnTo>
                    <a:pt x="212" y="2"/>
                  </a:lnTo>
                  <a:lnTo>
                    <a:pt x="232" y="5"/>
                  </a:lnTo>
                  <a:lnTo>
                    <a:pt x="251" y="9"/>
                  </a:lnTo>
                  <a:lnTo>
                    <a:pt x="268" y="16"/>
                  </a:lnTo>
                  <a:lnTo>
                    <a:pt x="285" y="23"/>
                  </a:lnTo>
                  <a:lnTo>
                    <a:pt x="301" y="33"/>
                  </a:lnTo>
                  <a:lnTo>
                    <a:pt x="315" y="45"/>
                  </a:lnTo>
                  <a:lnTo>
                    <a:pt x="330" y="56"/>
                  </a:lnTo>
                  <a:lnTo>
                    <a:pt x="341" y="71"/>
                  </a:lnTo>
                  <a:lnTo>
                    <a:pt x="353" y="85"/>
                  </a:lnTo>
                  <a:lnTo>
                    <a:pt x="363" y="101"/>
                  </a:lnTo>
                  <a:lnTo>
                    <a:pt x="370" y="118"/>
                  </a:lnTo>
                  <a:lnTo>
                    <a:pt x="377" y="136"/>
                  </a:lnTo>
                  <a:lnTo>
                    <a:pt x="382" y="154"/>
                  </a:lnTo>
                  <a:lnTo>
                    <a:pt x="384" y="173"/>
                  </a:lnTo>
                  <a:lnTo>
                    <a:pt x="386" y="193"/>
                  </a:lnTo>
                  <a:lnTo>
                    <a:pt x="384" y="213"/>
                  </a:lnTo>
                  <a:lnTo>
                    <a:pt x="382" y="232"/>
                  </a:lnTo>
                  <a:lnTo>
                    <a:pt x="377" y="251"/>
                  </a:lnTo>
                  <a:lnTo>
                    <a:pt x="370" y="268"/>
                  </a:lnTo>
                  <a:lnTo>
                    <a:pt x="363" y="285"/>
                  </a:lnTo>
                  <a:lnTo>
                    <a:pt x="353" y="301"/>
                  </a:lnTo>
                  <a:lnTo>
                    <a:pt x="341" y="316"/>
                  </a:lnTo>
                  <a:lnTo>
                    <a:pt x="330" y="330"/>
                  </a:lnTo>
                  <a:lnTo>
                    <a:pt x="315" y="343"/>
                  </a:lnTo>
                  <a:lnTo>
                    <a:pt x="301" y="353"/>
                  </a:lnTo>
                  <a:lnTo>
                    <a:pt x="285" y="363"/>
                  </a:lnTo>
                  <a:lnTo>
                    <a:pt x="268" y="372"/>
                  </a:lnTo>
                  <a:lnTo>
                    <a:pt x="251" y="378"/>
                  </a:lnTo>
                  <a:lnTo>
                    <a:pt x="232" y="382"/>
                  </a:lnTo>
                  <a:lnTo>
                    <a:pt x="212" y="385"/>
                  </a:lnTo>
                  <a:lnTo>
                    <a:pt x="193" y="386"/>
                  </a:lnTo>
                  <a:close/>
                </a:path>
              </a:pathLst>
            </a:custGeom>
            <a:grpFill/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4939462" y="1617067"/>
            <a:ext cx="598461" cy="600397"/>
            <a:chOff x="5009824" y="3762424"/>
            <a:chExt cx="449900" cy="451357"/>
          </a:xfrm>
          <a:solidFill>
            <a:schemeClr val="tx1">
              <a:lumMod val="95000"/>
              <a:lumOff val="5000"/>
            </a:schemeClr>
          </a:solidFill>
        </p:grpSpPr>
        <p:sp>
          <p:nvSpPr>
            <p:cNvPr id="20" name="Freeform 467"/>
            <p:cNvSpPr>
              <a:spLocks noEditPoints="1"/>
            </p:cNvSpPr>
            <p:nvPr/>
          </p:nvSpPr>
          <p:spPr bwMode="auto">
            <a:xfrm>
              <a:off x="5009824" y="3762424"/>
              <a:ext cx="449900" cy="451357"/>
            </a:xfrm>
            <a:custGeom>
              <a:avLst/>
              <a:gdLst>
                <a:gd name="T0" fmla="*/ 390 w 928"/>
                <a:gd name="T1" fmla="*/ 764 h 928"/>
                <a:gd name="T2" fmla="*/ 408 w 928"/>
                <a:gd name="T3" fmla="*/ 878 h 928"/>
                <a:gd name="T4" fmla="*/ 503 w 928"/>
                <a:gd name="T5" fmla="*/ 889 h 928"/>
                <a:gd name="T6" fmla="*/ 522 w 928"/>
                <a:gd name="T7" fmla="*/ 873 h 928"/>
                <a:gd name="T8" fmla="*/ 559 w 928"/>
                <a:gd name="T9" fmla="*/ 758 h 928"/>
                <a:gd name="T10" fmla="*/ 648 w 928"/>
                <a:gd name="T11" fmla="*/ 731 h 928"/>
                <a:gd name="T12" fmla="*/ 730 w 928"/>
                <a:gd name="T13" fmla="*/ 796 h 928"/>
                <a:gd name="T14" fmla="*/ 797 w 928"/>
                <a:gd name="T15" fmla="*/ 724 h 928"/>
                <a:gd name="T16" fmla="*/ 725 w 928"/>
                <a:gd name="T17" fmla="*/ 637 h 928"/>
                <a:gd name="T18" fmla="*/ 766 w 928"/>
                <a:gd name="T19" fmla="*/ 531 h 928"/>
                <a:gd name="T20" fmla="*/ 880 w 928"/>
                <a:gd name="T21" fmla="*/ 519 h 928"/>
                <a:gd name="T22" fmla="*/ 887 w 928"/>
                <a:gd name="T23" fmla="*/ 423 h 928"/>
                <a:gd name="T24" fmla="*/ 869 w 928"/>
                <a:gd name="T25" fmla="*/ 407 h 928"/>
                <a:gd name="T26" fmla="*/ 749 w 928"/>
                <a:gd name="T27" fmla="*/ 346 h 928"/>
                <a:gd name="T28" fmla="*/ 791 w 928"/>
                <a:gd name="T29" fmla="*/ 218 h 928"/>
                <a:gd name="T30" fmla="*/ 794 w 928"/>
                <a:gd name="T31" fmla="*/ 193 h 928"/>
                <a:gd name="T32" fmla="*/ 719 w 928"/>
                <a:gd name="T33" fmla="*/ 132 h 928"/>
                <a:gd name="T34" fmla="*/ 630 w 928"/>
                <a:gd name="T35" fmla="*/ 204 h 928"/>
                <a:gd name="T36" fmla="*/ 526 w 928"/>
                <a:gd name="T37" fmla="*/ 157 h 928"/>
                <a:gd name="T38" fmla="*/ 516 w 928"/>
                <a:gd name="T39" fmla="*/ 45 h 928"/>
                <a:gd name="T40" fmla="*/ 418 w 928"/>
                <a:gd name="T41" fmla="*/ 41 h 928"/>
                <a:gd name="T42" fmla="*/ 406 w 928"/>
                <a:gd name="T43" fmla="*/ 146 h 928"/>
                <a:gd name="T44" fmla="*/ 324 w 928"/>
                <a:gd name="T45" fmla="*/ 189 h 928"/>
                <a:gd name="T46" fmla="*/ 215 w 928"/>
                <a:gd name="T47" fmla="*/ 134 h 928"/>
                <a:gd name="T48" fmla="*/ 190 w 928"/>
                <a:gd name="T49" fmla="*/ 137 h 928"/>
                <a:gd name="T50" fmla="*/ 131 w 928"/>
                <a:gd name="T51" fmla="*/ 212 h 928"/>
                <a:gd name="T52" fmla="*/ 200 w 928"/>
                <a:gd name="T53" fmla="*/ 304 h 928"/>
                <a:gd name="T54" fmla="*/ 151 w 928"/>
                <a:gd name="T55" fmla="*/ 405 h 928"/>
                <a:gd name="T56" fmla="*/ 42 w 928"/>
                <a:gd name="T57" fmla="*/ 415 h 928"/>
                <a:gd name="T58" fmla="*/ 42 w 928"/>
                <a:gd name="T59" fmla="*/ 513 h 928"/>
                <a:gd name="T60" fmla="*/ 151 w 928"/>
                <a:gd name="T61" fmla="*/ 523 h 928"/>
                <a:gd name="T62" fmla="*/ 200 w 928"/>
                <a:gd name="T63" fmla="*/ 626 h 928"/>
                <a:gd name="T64" fmla="*/ 131 w 928"/>
                <a:gd name="T65" fmla="*/ 716 h 928"/>
                <a:gd name="T66" fmla="*/ 190 w 928"/>
                <a:gd name="T67" fmla="*/ 793 h 928"/>
                <a:gd name="T68" fmla="*/ 215 w 928"/>
                <a:gd name="T69" fmla="*/ 794 h 928"/>
                <a:gd name="T70" fmla="*/ 503 w 928"/>
                <a:gd name="T71" fmla="*/ 928 h 928"/>
                <a:gd name="T72" fmla="*/ 372 w 928"/>
                <a:gd name="T73" fmla="*/ 892 h 928"/>
                <a:gd name="T74" fmla="*/ 295 w 928"/>
                <a:gd name="T75" fmla="*/ 768 h 928"/>
                <a:gd name="T76" fmla="*/ 182 w 928"/>
                <a:gd name="T77" fmla="*/ 832 h 928"/>
                <a:gd name="T78" fmla="*/ 91 w 928"/>
                <a:gd name="T79" fmla="*/ 724 h 928"/>
                <a:gd name="T80" fmla="*/ 143 w 928"/>
                <a:gd name="T81" fmla="*/ 597 h 928"/>
                <a:gd name="T82" fmla="*/ 18 w 928"/>
                <a:gd name="T83" fmla="*/ 543 h 928"/>
                <a:gd name="T84" fmla="*/ 5 w 928"/>
                <a:gd name="T85" fmla="*/ 404 h 928"/>
                <a:gd name="T86" fmla="*/ 130 w 928"/>
                <a:gd name="T87" fmla="*/ 368 h 928"/>
                <a:gd name="T88" fmla="*/ 95 w 928"/>
                <a:gd name="T89" fmla="*/ 227 h 928"/>
                <a:gd name="T90" fmla="*/ 163 w 928"/>
                <a:gd name="T91" fmla="*/ 110 h 928"/>
                <a:gd name="T92" fmla="*/ 236 w 928"/>
                <a:gd name="T93" fmla="*/ 103 h 928"/>
                <a:gd name="T94" fmla="*/ 367 w 928"/>
                <a:gd name="T95" fmla="*/ 58 h 928"/>
                <a:gd name="T96" fmla="*/ 414 w 928"/>
                <a:gd name="T97" fmla="*/ 2 h 928"/>
                <a:gd name="T98" fmla="*/ 550 w 928"/>
                <a:gd name="T99" fmla="*/ 26 h 928"/>
                <a:gd name="T100" fmla="*/ 614 w 928"/>
                <a:gd name="T101" fmla="*/ 152 h 928"/>
                <a:gd name="T102" fmla="*/ 735 w 928"/>
                <a:gd name="T103" fmla="*/ 94 h 928"/>
                <a:gd name="T104" fmla="*/ 834 w 928"/>
                <a:gd name="T105" fmla="*/ 193 h 928"/>
                <a:gd name="T106" fmla="*/ 776 w 928"/>
                <a:gd name="T107" fmla="*/ 314 h 928"/>
                <a:gd name="T108" fmla="*/ 902 w 928"/>
                <a:gd name="T109" fmla="*/ 378 h 928"/>
                <a:gd name="T110" fmla="*/ 926 w 928"/>
                <a:gd name="T111" fmla="*/ 515 h 928"/>
                <a:gd name="T112" fmla="*/ 869 w 928"/>
                <a:gd name="T113" fmla="*/ 561 h 928"/>
                <a:gd name="T114" fmla="*/ 825 w 928"/>
                <a:gd name="T115" fmla="*/ 692 h 928"/>
                <a:gd name="T116" fmla="*/ 818 w 928"/>
                <a:gd name="T117" fmla="*/ 765 h 928"/>
                <a:gd name="T118" fmla="*/ 702 w 928"/>
                <a:gd name="T119" fmla="*/ 832 h 928"/>
                <a:gd name="T120" fmla="*/ 560 w 928"/>
                <a:gd name="T121" fmla="*/ 798 h 928"/>
                <a:gd name="T122" fmla="*/ 524 w 928"/>
                <a:gd name="T123" fmla="*/ 924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28" h="928">
                  <a:moveTo>
                    <a:pt x="293" y="725"/>
                  </a:moveTo>
                  <a:lnTo>
                    <a:pt x="298" y="726"/>
                  </a:lnTo>
                  <a:lnTo>
                    <a:pt x="303" y="728"/>
                  </a:lnTo>
                  <a:lnTo>
                    <a:pt x="324" y="739"/>
                  </a:lnTo>
                  <a:lnTo>
                    <a:pt x="346" y="749"/>
                  </a:lnTo>
                  <a:lnTo>
                    <a:pt x="367" y="758"/>
                  </a:lnTo>
                  <a:lnTo>
                    <a:pt x="390" y="764"/>
                  </a:lnTo>
                  <a:lnTo>
                    <a:pt x="396" y="767"/>
                  </a:lnTo>
                  <a:lnTo>
                    <a:pt x="402" y="771"/>
                  </a:lnTo>
                  <a:lnTo>
                    <a:pt x="405" y="777"/>
                  </a:lnTo>
                  <a:lnTo>
                    <a:pt x="406" y="783"/>
                  </a:lnTo>
                  <a:lnTo>
                    <a:pt x="406" y="870"/>
                  </a:lnTo>
                  <a:lnTo>
                    <a:pt x="406" y="873"/>
                  </a:lnTo>
                  <a:lnTo>
                    <a:pt x="408" y="878"/>
                  </a:lnTo>
                  <a:lnTo>
                    <a:pt x="409" y="881"/>
                  </a:lnTo>
                  <a:lnTo>
                    <a:pt x="411" y="883"/>
                  </a:lnTo>
                  <a:lnTo>
                    <a:pt x="414" y="886"/>
                  </a:lnTo>
                  <a:lnTo>
                    <a:pt x="418" y="888"/>
                  </a:lnTo>
                  <a:lnTo>
                    <a:pt x="421" y="889"/>
                  </a:lnTo>
                  <a:lnTo>
                    <a:pt x="425" y="889"/>
                  </a:lnTo>
                  <a:lnTo>
                    <a:pt x="503" y="889"/>
                  </a:lnTo>
                  <a:lnTo>
                    <a:pt x="506" y="889"/>
                  </a:lnTo>
                  <a:lnTo>
                    <a:pt x="510" y="888"/>
                  </a:lnTo>
                  <a:lnTo>
                    <a:pt x="513" y="886"/>
                  </a:lnTo>
                  <a:lnTo>
                    <a:pt x="516" y="883"/>
                  </a:lnTo>
                  <a:lnTo>
                    <a:pt x="519" y="881"/>
                  </a:lnTo>
                  <a:lnTo>
                    <a:pt x="520" y="878"/>
                  </a:lnTo>
                  <a:lnTo>
                    <a:pt x="522" y="873"/>
                  </a:lnTo>
                  <a:lnTo>
                    <a:pt x="522" y="870"/>
                  </a:lnTo>
                  <a:lnTo>
                    <a:pt x="522" y="783"/>
                  </a:lnTo>
                  <a:lnTo>
                    <a:pt x="523" y="777"/>
                  </a:lnTo>
                  <a:lnTo>
                    <a:pt x="526" y="771"/>
                  </a:lnTo>
                  <a:lnTo>
                    <a:pt x="530" y="767"/>
                  </a:lnTo>
                  <a:lnTo>
                    <a:pt x="536" y="764"/>
                  </a:lnTo>
                  <a:lnTo>
                    <a:pt x="559" y="758"/>
                  </a:lnTo>
                  <a:lnTo>
                    <a:pt x="582" y="749"/>
                  </a:lnTo>
                  <a:lnTo>
                    <a:pt x="604" y="739"/>
                  </a:lnTo>
                  <a:lnTo>
                    <a:pt x="624" y="728"/>
                  </a:lnTo>
                  <a:lnTo>
                    <a:pt x="631" y="725"/>
                  </a:lnTo>
                  <a:lnTo>
                    <a:pt x="637" y="725"/>
                  </a:lnTo>
                  <a:lnTo>
                    <a:pt x="642" y="726"/>
                  </a:lnTo>
                  <a:lnTo>
                    <a:pt x="648" y="731"/>
                  </a:lnTo>
                  <a:lnTo>
                    <a:pt x="709" y="793"/>
                  </a:lnTo>
                  <a:lnTo>
                    <a:pt x="712" y="794"/>
                  </a:lnTo>
                  <a:lnTo>
                    <a:pt x="716" y="796"/>
                  </a:lnTo>
                  <a:lnTo>
                    <a:pt x="719" y="797"/>
                  </a:lnTo>
                  <a:lnTo>
                    <a:pt x="723" y="797"/>
                  </a:lnTo>
                  <a:lnTo>
                    <a:pt x="726" y="797"/>
                  </a:lnTo>
                  <a:lnTo>
                    <a:pt x="730" y="796"/>
                  </a:lnTo>
                  <a:lnTo>
                    <a:pt x="733" y="794"/>
                  </a:lnTo>
                  <a:lnTo>
                    <a:pt x="736" y="793"/>
                  </a:lnTo>
                  <a:lnTo>
                    <a:pt x="791" y="738"/>
                  </a:lnTo>
                  <a:lnTo>
                    <a:pt x="794" y="735"/>
                  </a:lnTo>
                  <a:lnTo>
                    <a:pt x="795" y="731"/>
                  </a:lnTo>
                  <a:lnTo>
                    <a:pt x="797" y="728"/>
                  </a:lnTo>
                  <a:lnTo>
                    <a:pt x="797" y="724"/>
                  </a:lnTo>
                  <a:lnTo>
                    <a:pt x="797" y="721"/>
                  </a:lnTo>
                  <a:lnTo>
                    <a:pt x="795" y="716"/>
                  </a:lnTo>
                  <a:lnTo>
                    <a:pt x="794" y="713"/>
                  </a:lnTo>
                  <a:lnTo>
                    <a:pt x="791" y="711"/>
                  </a:lnTo>
                  <a:lnTo>
                    <a:pt x="730" y="649"/>
                  </a:lnTo>
                  <a:lnTo>
                    <a:pt x="726" y="643"/>
                  </a:lnTo>
                  <a:lnTo>
                    <a:pt x="725" y="637"/>
                  </a:lnTo>
                  <a:lnTo>
                    <a:pt x="725" y="631"/>
                  </a:lnTo>
                  <a:lnTo>
                    <a:pt x="727" y="626"/>
                  </a:lnTo>
                  <a:lnTo>
                    <a:pt x="739" y="604"/>
                  </a:lnTo>
                  <a:lnTo>
                    <a:pt x="749" y="582"/>
                  </a:lnTo>
                  <a:lnTo>
                    <a:pt x="758" y="561"/>
                  </a:lnTo>
                  <a:lnTo>
                    <a:pt x="763" y="538"/>
                  </a:lnTo>
                  <a:lnTo>
                    <a:pt x="766" y="531"/>
                  </a:lnTo>
                  <a:lnTo>
                    <a:pt x="771" y="526"/>
                  </a:lnTo>
                  <a:lnTo>
                    <a:pt x="776" y="523"/>
                  </a:lnTo>
                  <a:lnTo>
                    <a:pt x="782" y="522"/>
                  </a:lnTo>
                  <a:lnTo>
                    <a:pt x="869" y="522"/>
                  </a:lnTo>
                  <a:lnTo>
                    <a:pt x="873" y="522"/>
                  </a:lnTo>
                  <a:lnTo>
                    <a:pt x="876" y="520"/>
                  </a:lnTo>
                  <a:lnTo>
                    <a:pt x="880" y="519"/>
                  </a:lnTo>
                  <a:lnTo>
                    <a:pt x="883" y="516"/>
                  </a:lnTo>
                  <a:lnTo>
                    <a:pt x="886" y="513"/>
                  </a:lnTo>
                  <a:lnTo>
                    <a:pt x="887" y="510"/>
                  </a:lnTo>
                  <a:lnTo>
                    <a:pt x="887" y="507"/>
                  </a:lnTo>
                  <a:lnTo>
                    <a:pt x="889" y="503"/>
                  </a:lnTo>
                  <a:lnTo>
                    <a:pt x="889" y="425"/>
                  </a:lnTo>
                  <a:lnTo>
                    <a:pt x="887" y="423"/>
                  </a:lnTo>
                  <a:lnTo>
                    <a:pt x="887" y="418"/>
                  </a:lnTo>
                  <a:lnTo>
                    <a:pt x="884" y="415"/>
                  </a:lnTo>
                  <a:lnTo>
                    <a:pt x="883" y="412"/>
                  </a:lnTo>
                  <a:lnTo>
                    <a:pt x="880" y="410"/>
                  </a:lnTo>
                  <a:lnTo>
                    <a:pt x="877" y="408"/>
                  </a:lnTo>
                  <a:lnTo>
                    <a:pt x="873" y="407"/>
                  </a:lnTo>
                  <a:lnTo>
                    <a:pt x="869" y="407"/>
                  </a:lnTo>
                  <a:lnTo>
                    <a:pt x="782" y="407"/>
                  </a:lnTo>
                  <a:lnTo>
                    <a:pt x="776" y="405"/>
                  </a:lnTo>
                  <a:lnTo>
                    <a:pt x="771" y="402"/>
                  </a:lnTo>
                  <a:lnTo>
                    <a:pt x="766" y="398"/>
                  </a:lnTo>
                  <a:lnTo>
                    <a:pt x="763" y="392"/>
                  </a:lnTo>
                  <a:lnTo>
                    <a:pt x="758" y="369"/>
                  </a:lnTo>
                  <a:lnTo>
                    <a:pt x="749" y="346"/>
                  </a:lnTo>
                  <a:lnTo>
                    <a:pt x="739" y="325"/>
                  </a:lnTo>
                  <a:lnTo>
                    <a:pt x="727" y="303"/>
                  </a:lnTo>
                  <a:lnTo>
                    <a:pt x="725" y="297"/>
                  </a:lnTo>
                  <a:lnTo>
                    <a:pt x="725" y="291"/>
                  </a:lnTo>
                  <a:lnTo>
                    <a:pt x="726" y="286"/>
                  </a:lnTo>
                  <a:lnTo>
                    <a:pt x="730" y="280"/>
                  </a:lnTo>
                  <a:lnTo>
                    <a:pt x="791" y="218"/>
                  </a:lnTo>
                  <a:lnTo>
                    <a:pt x="794" y="215"/>
                  </a:lnTo>
                  <a:lnTo>
                    <a:pt x="795" y="212"/>
                  </a:lnTo>
                  <a:lnTo>
                    <a:pt x="797" y="209"/>
                  </a:lnTo>
                  <a:lnTo>
                    <a:pt x="797" y="205"/>
                  </a:lnTo>
                  <a:lnTo>
                    <a:pt x="797" y="201"/>
                  </a:lnTo>
                  <a:lnTo>
                    <a:pt x="795" y="198"/>
                  </a:lnTo>
                  <a:lnTo>
                    <a:pt x="794" y="193"/>
                  </a:lnTo>
                  <a:lnTo>
                    <a:pt x="791" y="191"/>
                  </a:lnTo>
                  <a:lnTo>
                    <a:pt x="736" y="136"/>
                  </a:lnTo>
                  <a:lnTo>
                    <a:pt x="733" y="134"/>
                  </a:lnTo>
                  <a:lnTo>
                    <a:pt x="730" y="133"/>
                  </a:lnTo>
                  <a:lnTo>
                    <a:pt x="726" y="132"/>
                  </a:lnTo>
                  <a:lnTo>
                    <a:pt x="723" y="132"/>
                  </a:lnTo>
                  <a:lnTo>
                    <a:pt x="719" y="132"/>
                  </a:lnTo>
                  <a:lnTo>
                    <a:pt x="716" y="133"/>
                  </a:lnTo>
                  <a:lnTo>
                    <a:pt x="712" y="134"/>
                  </a:lnTo>
                  <a:lnTo>
                    <a:pt x="709" y="136"/>
                  </a:lnTo>
                  <a:lnTo>
                    <a:pt x="648" y="198"/>
                  </a:lnTo>
                  <a:lnTo>
                    <a:pt x="642" y="202"/>
                  </a:lnTo>
                  <a:lnTo>
                    <a:pt x="637" y="204"/>
                  </a:lnTo>
                  <a:lnTo>
                    <a:pt x="630" y="204"/>
                  </a:lnTo>
                  <a:lnTo>
                    <a:pt x="624" y="201"/>
                  </a:lnTo>
                  <a:lnTo>
                    <a:pt x="604" y="189"/>
                  </a:lnTo>
                  <a:lnTo>
                    <a:pt x="582" y="179"/>
                  </a:lnTo>
                  <a:lnTo>
                    <a:pt x="559" y="170"/>
                  </a:lnTo>
                  <a:lnTo>
                    <a:pt x="536" y="165"/>
                  </a:lnTo>
                  <a:lnTo>
                    <a:pt x="530" y="162"/>
                  </a:lnTo>
                  <a:lnTo>
                    <a:pt x="526" y="157"/>
                  </a:lnTo>
                  <a:lnTo>
                    <a:pt x="523" y="152"/>
                  </a:lnTo>
                  <a:lnTo>
                    <a:pt x="522" y="146"/>
                  </a:lnTo>
                  <a:lnTo>
                    <a:pt x="522" y="58"/>
                  </a:lnTo>
                  <a:lnTo>
                    <a:pt x="522" y="55"/>
                  </a:lnTo>
                  <a:lnTo>
                    <a:pt x="520" y="51"/>
                  </a:lnTo>
                  <a:lnTo>
                    <a:pt x="519" y="48"/>
                  </a:lnTo>
                  <a:lnTo>
                    <a:pt x="516" y="45"/>
                  </a:lnTo>
                  <a:lnTo>
                    <a:pt x="513" y="42"/>
                  </a:lnTo>
                  <a:lnTo>
                    <a:pt x="510" y="41"/>
                  </a:lnTo>
                  <a:lnTo>
                    <a:pt x="506" y="39"/>
                  </a:lnTo>
                  <a:lnTo>
                    <a:pt x="503" y="39"/>
                  </a:lnTo>
                  <a:lnTo>
                    <a:pt x="425" y="39"/>
                  </a:lnTo>
                  <a:lnTo>
                    <a:pt x="421" y="39"/>
                  </a:lnTo>
                  <a:lnTo>
                    <a:pt x="418" y="41"/>
                  </a:lnTo>
                  <a:lnTo>
                    <a:pt x="414" y="42"/>
                  </a:lnTo>
                  <a:lnTo>
                    <a:pt x="411" y="45"/>
                  </a:lnTo>
                  <a:lnTo>
                    <a:pt x="409" y="48"/>
                  </a:lnTo>
                  <a:lnTo>
                    <a:pt x="408" y="51"/>
                  </a:lnTo>
                  <a:lnTo>
                    <a:pt x="406" y="55"/>
                  </a:lnTo>
                  <a:lnTo>
                    <a:pt x="406" y="58"/>
                  </a:lnTo>
                  <a:lnTo>
                    <a:pt x="406" y="146"/>
                  </a:lnTo>
                  <a:lnTo>
                    <a:pt x="405" y="152"/>
                  </a:lnTo>
                  <a:lnTo>
                    <a:pt x="402" y="157"/>
                  </a:lnTo>
                  <a:lnTo>
                    <a:pt x="396" y="162"/>
                  </a:lnTo>
                  <a:lnTo>
                    <a:pt x="390" y="165"/>
                  </a:lnTo>
                  <a:lnTo>
                    <a:pt x="367" y="170"/>
                  </a:lnTo>
                  <a:lnTo>
                    <a:pt x="346" y="179"/>
                  </a:lnTo>
                  <a:lnTo>
                    <a:pt x="324" y="189"/>
                  </a:lnTo>
                  <a:lnTo>
                    <a:pt x="303" y="201"/>
                  </a:lnTo>
                  <a:lnTo>
                    <a:pt x="297" y="204"/>
                  </a:lnTo>
                  <a:lnTo>
                    <a:pt x="291" y="204"/>
                  </a:lnTo>
                  <a:lnTo>
                    <a:pt x="284" y="202"/>
                  </a:lnTo>
                  <a:lnTo>
                    <a:pt x="280" y="198"/>
                  </a:lnTo>
                  <a:lnTo>
                    <a:pt x="218" y="137"/>
                  </a:lnTo>
                  <a:lnTo>
                    <a:pt x="215" y="134"/>
                  </a:lnTo>
                  <a:lnTo>
                    <a:pt x="212" y="133"/>
                  </a:lnTo>
                  <a:lnTo>
                    <a:pt x="208" y="132"/>
                  </a:lnTo>
                  <a:lnTo>
                    <a:pt x="205" y="132"/>
                  </a:lnTo>
                  <a:lnTo>
                    <a:pt x="200" y="132"/>
                  </a:lnTo>
                  <a:lnTo>
                    <a:pt x="196" y="133"/>
                  </a:lnTo>
                  <a:lnTo>
                    <a:pt x="193" y="134"/>
                  </a:lnTo>
                  <a:lnTo>
                    <a:pt x="190" y="137"/>
                  </a:lnTo>
                  <a:lnTo>
                    <a:pt x="136" y="191"/>
                  </a:lnTo>
                  <a:lnTo>
                    <a:pt x="133" y="195"/>
                  </a:lnTo>
                  <a:lnTo>
                    <a:pt x="131" y="198"/>
                  </a:lnTo>
                  <a:lnTo>
                    <a:pt x="131" y="201"/>
                  </a:lnTo>
                  <a:lnTo>
                    <a:pt x="130" y="205"/>
                  </a:lnTo>
                  <a:lnTo>
                    <a:pt x="131" y="208"/>
                  </a:lnTo>
                  <a:lnTo>
                    <a:pt x="131" y="212"/>
                  </a:lnTo>
                  <a:lnTo>
                    <a:pt x="133" y="215"/>
                  </a:lnTo>
                  <a:lnTo>
                    <a:pt x="136" y="218"/>
                  </a:lnTo>
                  <a:lnTo>
                    <a:pt x="198" y="280"/>
                  </a:lnTo>
                  <a:lnTo>
                    <a:pt x="200" y="286"/>
                  </a:lnTo>
                  <a:lnTo>
                    <a:pt x="203" y="291"/>
                  </a:lnTo>
                  <a:lnTo>
                    <a:pt x="202" y="297"/>
                  </a:lnTo>
                  <a:lnTo>
                    <a:pt x="200" y="304"/>
                  </a:lnTo>
                  <a:lnTo>
                    <a:pt x="189" y="325"/>
                  </a:lnTo>
                  <a:lnTo>
                    <a:pt x="179" y="346"/>
                  </a:lnTo>
                  <a:lnTo>
                    <a:pt x="170" y="369"/>
                  </a:lnTo>
                  <a:lnTo>
                    <a:pt x="163" y="392"/>
                  </a:lnTo>
                  <a:lnTo>
                    <a:pt x="162" y="398"/>
                  </a:lnTo>
                  <a:lnTo>
                    <a:pt x="157" y="402"/>
                  </a:lnTo>
                  <a:lnTo>
                    <a:pt x="151" y="405"/>
                  </a:lnTo>
                  <a:lnTo>
                    <a:pt x="144" y="407"/>
                  </a:lnTo>
                  <a:lnTo>
                    <a:pt x="58" y="407"/>
                  </a:lnTo>
                  <a:lnTo>
                    <a:pt x="54" y="407"/>
                  </a:lnTo>
                  <a:lnTo>
                    <a:pt x="51" y="408"/>
                  </a:lnTo>
                  <a:lnTo>
                    <a:pt x="48" y="410"/>
                  </a:lnTo>
                  <a:lnTo>
                    <a:pt x="45" y="412"/>
                  </a:lnTo>
                  <a:lnTo>
                    <a:pt x="42" y="415"/>
                  </a:lnTo>
                  <a:lnTo>
                    <a:pt x="41" y="418"/>
                  </a:lnTo>
                  <a:lnTo>
                    <a:pt x="39" y="423"/>
                  </a:lnTo>
                  <a:lnTo>
                    <a:pt x="39" y="425"/>
                  </a:lnTo>
                  <a:lnTo>
                    <a:pt x="39" y="503"/>
                  </a:lnTo>
                  <a:lnTo>
                    <a:pt x="39" y="507"/>
                  </a:lnTo>
                  <a:lnTo>
                    <a:pt x="41" y="510"/>
                  </a:lnTo>
                  <a:lnTo>
                    <a:pt x="42" y="513"/>
                  </a:lnTo>
                  <a:lnTo>
                    <a:pt x="45" y="516"/>
                  </a:lnTo>
                  <a:lnTo>
                    <a:pt x="48" y="519"/>
                  </a:lnTo>
                  <a:lnTo>
                    <a:pt x="51" y="520"/>
                  </a:lnTo>
                  <a:lnTo>
                    <a:pt x="54" y="522"/>
                  </a:lnTo>
                  <a:lnTo>
                    <a:pt x="58" y="522"/>
                  </a:lnTo>
                  <a:lnTo>
                    <a:pt x="144" y="522"/>
                  </a:lnTo>
                  <a:lnTo>
                    <a:pt x="151" y="523"/>
                  </a:lnTo>
                  <a:lnTo>
                    <a:pt x="157" y="526"/>
                  </a:lnTo>
                  <a:lnTo>
                    <a:pt x="162" y="531"/>
                  </a:lnTo>
                  <a:lnTo>
                    <a:pt x="163" y="538"/>
                  </a:lnTo>
                  <a:lnTo>
                    <a:pt x="170" y="561"/>
                  </a:lnTo>
                  <a:lnTo>
                    <a:pt x="179" y="582"/>
                  </a:lnTo>
                  <a:lnTo>
                    <a:pt x="189" y="604"/>
                  </a:lnTo>
                  <a:lnTo>
                    <a:pt x="200" y="626"/>
                  </a:lnTo>
                  <a:lnTo>
                    <a:pt x="202" y="631"/>
                  </a:lnTo>
                  <a:lnTo>
                    <a:pt x="203" y="637"/>
                  </a:lnTo>
                  <a:lnTo>
                    <a:pt x="200" y="643"/>
                  </a:lnTo>
                  <a:lnTo>
                    <a:pt x="198" y="649"/>
                  </a:lnTo>
                  <a:lnTo>
                    <a:pt x="136" y="711"/>
                  </a:lnTo>
                  <a:lnTo>
                    <a:pt x="134" y="713"/>
                  </a:lnTo>
                  <a:lnTo>
                    <a:pt x="131" y="716"/>
                  </a:lnTo>
                  <a:lnTo>
                    <a:pt x="131" y="721"/>
                  </a:lnTo>
                  <a:lnTo>
                    <a:pt x="130" y="724"/>
                  </a:lnTo>
                  <a:lnTo>
                    <a:pt x="131" y="728"/>
                  </a:lnTo>
                  <a:lnTo>
                    <a:pt x="131" y="731"/>
                  </a:lnTo>
                  <a:lnTo>
                    <a:pt x="134" y="735"/>
                  </a:lnTo>
                  <a:lnTo>
                    <a:pt x="136" y="738"/>
                  </a:lnTo>
                  <a:lnTo>
                    <a:pt x="190" y="793"/>
                  </a:lnTo>
                  <a:lnTo>
                    <a:pt x="193" y="794"/>
                  </a:lnTo>
                  <a:lnTo>
                    <a:pt x="196" y="796"/>
                  </a:lnTo>
                  <a:lnTo>
                    <a:pt x="200" y="797"/>
                  </a:lnTo>
                  <a:lnTo>
                    <a:pt x="205" y="797"/>
                  </a:lnTo>
                  <a:lnTo>
                    <a:pt x="208" y="797"/>
                  </a:lnTo>
                  <a:lnTo>
                    <a:pt x="212" y="796"/>
                  </a:lnTo>
                  <a:lnTo>
                    <a:pt x="215" y="794"/>
                  </a:lnTo>
                  <a:lnTo>
                    <a:pt x="218" y="793"/>
                  </a:lnTo>
                  <a:lnTo>
                    <a:pt x="280" y="731"/>
                  </a:lnTo>
                  <a:lnTo>
                    <a:pt x="282" y="728"/>
                  </a:lnTo>
                  <a:lnTo>
                    <a:pt x="285" y="726"/>
                  </a:lnTo>
                  <a:lnTo>
                    <a:pt x="290" y="725"/>
                  </a:lnTo>
                  <a:lnTo>
                    <a:pt x="293" y="725"/>
                  </a:lnTo>
                  <a:close/>
                  <a:moveTo>
                    <a:pt x="503" y="928"/>
                  </a:moveTo>
                  <a:lnTo>
                    <a:pt x="425" y="928"/>
                  </a:lnTo>
                  <a:lnTo>
                    <a:pt x="414" y="927"/>
                  </a:lnTo>
                  <a:lnTo>
                    <a:pt x="402" y="924"/>
                  </a:lnTo>
                  <a:lnTo>
                    <a:pt x="392" y="918"/>
                  </a:lnTo>
                  <a:lnTo>
                    <a:pt x="383" y="911"/>
                  </a:lnTo>
                  <a:lnTo>
                    <a:pt x="378" y="902"/>
                  </a:lnTo>
                  <a:lnTo>
                    <a:pt x="372" y="892"/>
                  </a:lnTo>
                  <a:lnTo>
                    <a:pt x="369" y="882"/>
                  </a:lnTo>
                  <a:lnTo>
                    <a:pt x="367" y="870"/>
                  </a:lnTo>
                  <a:lnTo>
                    <a:pt x="367" y="798"/>
                  </a:lnTo>
                  <a:lnTo>
                    <a:pt x="349" y="793"/>
                  </a:lnTo>
                  <a:lnTo>
                    <a:pt x="330" y="785"/>
                  </a:lnTo>
                  <a:lnTo>
                    <a:pt x="313" y="777"/>
                  </a:lnTo>
                  <a:lnTo>
                    <a:pt x="295" y="768"/>
                  </a:lnTo>
                  <a:lnTo>
                    <a:pt x="245" y="820"/>
                  </a:lnTo>
                  <a:lnTo>
                    <a:pt x="236" y="827"/>
                  </a:lnTo>
                  <a:lnTo>
                    <a:pt x="226" y="832"/>
                  </a:lnTo>
                  <a:lnTo>
                    <a:pt x="215" y="834"/>
                  </a:lnTo>
                  <a:lnTo>
                    <a:pt x="205" y="836"/>
                  </a:lnTo>
                  <a:lnTo>
                    <a:pt x="193" y="834"/>
                  </a:lnTo>
                  <a:lnTo>
                    <a:pt x="182" y="832"/>
                  </a:lnTo>
                  <a:lnTo>
                    <a:pt x="172" y="827"/>
                  </a:lnTo>
                  <a:lnTo>
                    <a:pt x="163" y="820"/>
                  </a:lnTo>
                  <a:lnTo>
                    <a:pt x="108" y="765"/>
                  </a:lnTo>
                  <a:lnTo>
                    <a:pt x="101" y="757"/>
                  </a:lnTo>
                  <a:lnTo>
                    <a:pt x="95" y="747"/>
                  </a:lnTo>
                  <a:lnTo>
                    <a:pt x="92" y="735"/>
                  </a:lnTo>
                  <a:lnTo>
                    <a:pt x="91" y="724"/>
                  </a:lnTo>
                  <a:lnTo>
                    <a:pt x="92" y="712"/>
                  </a:lnTo>
                  <a:lnTo>
                    <a:pt x="95" y="702"/>
                  </a:lnTo>
                  <a:lnTo>
                    <a:pt x="101" y="692"/>
                  </a:lnTo>
                  <a:lnTo>
                    <a:pt x="108" y="683"/>
                  </a:lnTo>
                  <a:lnTo>
                    <a:pt x="160" y="631"/>
                  </a:lnTo>
                  <a:lnTo>
                    <a:pt x="150" y="616"/>
                  </a:lnTo>
                  <a:lnTo>
                    <a:pt x="143" y="597"/>
                  </a:lnTo>
                  <a:lnTo>
                    <a:pt x="136" y="580"/>
                  </a:lnTo>
                  <a:lnTo>
                    <a:pt x="130" y="561"/>
                  </a:lnTo>
                  <a:lnTo>
                    <a:pt x="58" y="561"/>
                  </a:lnTo>
                  <a:lnTo>
                    <a:pt x="46" y="559"/>
                  </a:lnTo>
                  <a:lnTo>
                    <a:pt x="36" y="556"/>
                  </a:lnTo>
                  <a:lnTo>
                    <a:pt x="26" y="551"/>
                  </a:lnTo>
                  <a:lnTo>
                    <a:pt x="18" y="543"/>
                  </a:lnTo>
                  <a:lnTo>
                    <a:pt x="10" y="535"/>
                  </a:lnTo>
                  <a:lnTo>
                    <a:pt x="5" y="526"/>
                  </a:lnTo>
                  <a:lnTo>
                    <a:pt x="2" y="515"/>
                  </a:lnTo>
                  <a:lnTo>
                    <a:pt x="0" y="503"/>
                  </a:lnTo>
                  <a:lnTo>
                    <a:pt x="0" y="425"/>
                  </a:lnTo>
                  <a:lnTo>
                    <a:pt x="2" y="414"/>
                  </a:lnTo>
                  <a:lnTo>
                    <a:pt x="5" y="404"/>
                  </a:lnTo>
                  <a:lnTo>
                    <a:pt x="10" y="394"/>
                  </a:lnTo>
                  <a:lnTo>
                    <a:pt x="18" y="385"/>
                  </a:lnTo>
                  <a:lnTo>
                    <a:pt x="26" y="378"/>
                  </a:lnTo>
                  <a:lnTo>
                    <a:pt x="36" y="372"/>
                  </a:lnTo>
                  <a:lnTo>
                    <a:pt x="46" y="369"/>
                  </a:lnTo>
                  <a:lnTo>
                    <a:pt x="58" y="368"/>
                  </a:lnTo>
                  <a:lnTo>
                    <a:pt x="130" y="368"/>
                  </a:lnTo>
                  <a:lnTo>
                    <a:pt x="136" y="349"/>
                  </a:lnTo>
                  <a:lnTo>
                    <a:pt x="143" y="332"/>
                  </a:lnTo>
                  <a:lnTo>
                    <a:pt x="150" y="314"/>
                  </a:lnTo>
                  <a:lnTo>
                    <a:pt x="160" y="297"/>
                  </a:lnTo>
                  <a:lnTo>
                    <a:pt x="108" y="245"/>
                  </a:lnTo>
                  <a:lnTo>
                    <a:pt x="101" y="237"/>
                  </a:lnTo>
                  <a:lnTo>
                    <a:pt x="95" y="227"/>
                  </a:lnTo>
                  <a:lnTo>
                    <a:pt x="92" y="217"/>
                  </a:lnTo>
                  <a:lnTo>
                    <a:pt x="91" y="205"/>
                  </a:lnTo>
                  <a:lnTo>
                    <a:pt x="92" y="193"/>
                  </a:lnTo>
                  <a:lnTo>
                    <a:pt x="95" y="183"/>
                  </a:lnTo>
                  <a:lnTo>
                    <a:pt x="101" y="173"/>
                  </a:lnTo>
                  <a:lnTo>
                    <a:pt x="108" y="163"/>
                  </a:lnTo>
                  <a:lnTo>
                    <a:pt x="163" y="110"/>
                  </a:lnTo>
                  <a:lnTo>
                    <a:pt x="172" y="103"/>
                  </a:lnTo>
                  <a:lnTo>
                    <a:pt x="182" y="97"/>
                  </a:lnTo>
                  <a:lnTo>
                    <a:pt x="193" y="94"/>
                  </a:lnTo>
                  <a:lnTo>
                    <a:pt x="205" y="93"/>
                  </a:lnTo>
                  <a:lnTo>
                    <a:pt x="215" y="94"/>
                  </a:lnTo>
                  <a:lnTo>
                    <a:pt x="226" y="97"/>
                  </a:lnTo>
                  <a:lnTo>
                    <a:pt x="236" y="103"/>
                  </a:lnTo>
                  <a:lnTo>
                    <a:pt x="245" y="110"/>
                  </a:lnTo>
                  <a:lnTo>
                    <a:pt x="295" y="160"/>
                  </a:lnTo>
                  <a:lnTo>
                    <a:pt x="313" y="152"/>
                  </a:lnTo>
                  <a:lnTo>
                    <a:pt x="330" y="143"/>
                  </a:lnTo>
                  <a:lnTo>
                    <a:pt x="349" y="136"/>
                  </a:lnTo>
                  <a:lnTo>
                    <a:pt x="367" y="130"/>
                  </a:lnTo>
                  <a:lnTo>
                    <a:pt x="367" y="58"/>
                  </a:lnTo>
                  <a:lnTo>
                    <a:pt x="369" y="47"/>
                  </a:lnTo>
                  <a:lnTo>
                    <a:pt x="372" y="36"/>
                  </a:lnTo>
                  <a:lnTo>
                    <a:pt x="378" y="26"/>
                  </a:lnTo>
                  <a:lnTo>
                    <a:pt x="383" y="18"/>
                  </a:lnTo>
                  <a:lnTo>
                    <a:pt x="392" y="11"/>
                  </a:lnTo>
                  <a:lnTo>
                    <a:pt x="402" y="5"/>
                  </a:lnTo>
                  <a:lnTo>
                    <a:pt x="414" y="2"/>
                  </a:lnTo>
                  <a:lnTo>
                    <a:pt x="425" y="0"/>
                  </a:lnTo>
                  <a:lnTo>
                    <a:pt x="503" y="0"/>
                  </a:lnTo>
                  <a:lnTo>
                    <a:pt x="514" y="2"/>
                  </a:lnTo>
                  <a:lnTo>
                    <a:pt x="524" y="5"/>
                  </a:lnTo>
                  <a:lnTo>
                    <a:pt x="534" y="11"/>
                  </a:lnTo>
                  <a:lnTo>
                    <a:pt x="543" y="18"/>
                  </a:lnTo>
                  <a:lnTo>
                    <a:pt x="550" y="26"/>
                  </a:lnTo>
                  <a:lnTo>
                    <a:pt x="556" y="36"/>
                  </a:lnTo>
                  <a:lnTo>
                    <a:pt x="559" y="47"/>
                  </a:lnTo>
                  <a:lnTo>
                    <a:pt x="560" y="58"/>
                  </a:lnTo>
                  <a:lnTo>
                    <a:pt x="560" y="130"/>
                  </a:lnTo>
                  <a:lnTo>
                    <a:pt x="579" y="137"/>
                  </a:lnTo>
                  <a:lnTo>
                    <a:pt x="596" y="143"/>
                  </a:lnTo>
                  <a:lnTo>
                    <a:pt x="614" y="152"/>
                  </a:lnTo>
                  <a:lnTo>
                    <a:pt x="631" y="160"/>
                  </a:lnTo>
                  <a:lnTo>
                    <a:pt x="681" y="110"/>
                  </a:lnTo>
                  <a:lnTo>
                    <a:pt x="691" y="103"/>
                  </a:lnTo>
                  <a:lnTo>
                    <a:pt x="702" y="97"/>
                  </a:lnTo>
                  <a:lnTo>
                    <a:pt x="712" y="94"/>
                  </a:lnTo>
                  <a:lnTo>
                    <a:pt x="723" y="93"/>
                  </a:lnTo>
                  <a:lnTo>
                    <a:pt x="735" y="94"/>
                  </a:lnTo>
                  <a:lnTo>
                    <a:pt x="745" y="97"/>
                  </a:lnTo>
                  <a:lnTo>
                    <a:pt x="755" y="103"/>
                  </a:lnTo>
                  <a:lnTo>
                    <a:pt x="763" y="110"/>
                  </a:lnTo>
                  <a:lnTo>
                    <a:pt x="818" y="163"/>
                  </a:lnTo>
                  <a:lnTo>
                    <a:pt x="825" y="173"/>
                  </a:lnTo>
                  <a:lnTo>
                    <a:pt x="831" y="182"/>
                  </a:lnTo>
                  <a:lnTo>
                    <a:pt x="834" y="193"/>
                  </a:lnTo>
                  <a:lnTo>
                    <a:pt x="835" y="205"/>
                  </a:lnTo>
                  <a:lnTo>
                    <a:pt x="834" y="217"/>
                  </a:lnTo>
                  <a:lnTo>
                    <a:pt x="831" y="227"/>
                  </a:lnTo>
                  <a:lnTo>
                    <a:pt x="825" y="237"/>
                  </a:lnTo>
                  <a:lnTo>
                    <a:pt x="818" y="245"/>
                  </a:lnTo>
                  <a:lnTo>
                    <a:pt x="768" y="297"/>
                  </a:lnTo>
                  <a:lnTo>
                    <a:pt x="776" y="314"/>
                  </a:lnTo>
                  <a:lnTo>
                    <a:pt x="785" y="332"/>
                  </a:lnTo>
                  <a:lnTo>
                    <a:pt x="791" y="349"/>
                  </a:lnTo>
                  <a:lnTo>
                    <a:pt x="797" y="368"/>
                  </a:lnTo>
                  <a:lnTo>
                    <a:pt x="869" y="368"/>
                  </a:lnTo>
                  <a:lnTo>
                    <a:pt x="880" y="369"/>
                  </a:lnTo>
                  <a:lnTo>
                    <a:pt x="892" y="372"/>
                  </a:lnTo>
                  <a:lnTo>
                    <a:pt x="902" y="378"/>
                  </a:lnTo>
                  <a:lnTo>
                    <a:pt x="910" y="385"/>
                  </a:lnTo>
                  <a:lnTo>
                    <a:pt x="918" y="394"/>
                  </a:lnTo>
                  <a:lnTo>
                    <a:pt x="922" y="404"/>
                  </a:lnTo>
                  <a:lnTo>
                    <a:pt x="926" y="414"/>
                  </a:lnTo>
                  <a:lnTo>
                    <a:pt x="928" y="425"/>
                  </a:lnTo>
                  <a:lnTo>
                    <a:pt x="928" y="503"/>
                  </a:lnTo>
                  <a:lnTo>
                    <a:pt x="926" y="515"/>
                  </a:lnTo>
                  <a:lnTo>
                    <a:pt x="923" y="525"/>
                  </a:lnTo>
                  <a:lnTo>
                    <a:pt x="918" y="535"/>
                  </a:lnTo>
                  <a:lnTo>
                    <a:pt x="910" y="543"/>
                  </a:lnTo>
                  <a:lnTo>
                    <a:pt x="902" y="551"/>
                  </a:lnTo>
                  <a:lnTo>
                    <a:pt x="892" y="556"/>
                  </a:lnTo>
                  <a:lnTo>
                    <a:pt x="880" y="559"/>
                  </a:lnTo>
                  <a:lnTo>
                    <a:pt x="869" y="561"/>
                  </a:lnTo>
                  <a:lnTo>
                    <a:pt x="797" y="561"/>
                  </a:lnTo>
                  <a:lnTo>
                    <a:pt x="791" y="580"/>
                  </a:lnTo>
                  <a:lnTo>
                    <a:pt x="785" y="597"/>
                  </a:lnTo>
                  <a:lnTo>
                    <a:pt x="776" y="616"/>
                  </a:lnTo>
                  <a:lnTo>
                    <a:pt x="768" y="631"/>
                  </a:lnTo>
                  <a:lnTo>
                    <a:pt x="818" y="683"/>
                  </a:lnTo>
                  <a:lnTo>
                    <a:pt x="825" y="692"/>
                  </a:lnTo>
                  <a:lnTo>
                    <a:pt x="831" y="702"/>
                  </a:lnTo>
                  <a:lnTo>
                    <a:pt x="834" y="713"/>
                  </a:lnTo>
                  <a:lnTo>
                    <a:pt x="835" y="724"/>
                  </a:lnTo>
                  <a:lnTo>
                    <a:pt x="834" y="735"/>
                  </a:lnTo>
                  <a:lnTo>
                    <a:pt x="831" y="745"/>
                  </a:lnTo>
                  <a:lnTo>
                    <a:pt x="825" y="755"/>
                  </a:lnTo>
                  <a:lnTo>
                    <a:pt x="818" y="765"/>
                  </a:lnTo>
                  <a:lnTo>
                    <a:pt x="763" y="820"/>
                  </a:lnTo>
                  <a:lnTo>
                    <a:pt x="755" y="827"/>
                  </a:lnTo>
                  <a:lnTo>
                    <a:pt x="745" y="832"/>
                  </a:lnTo>
                  <a:lnTo>
                    <a:pt x="735" y="834"/>
                  </a:lnTo>
                  <a:lnTo>
                    <a:pt x="723" y="836"/>
                  </a:lnTo>
                  <a:lnTo>
                    <a:pt x="712" y="834"/>
                  </a:lnTo>
                  <a:lnTo>
                    <a:pt x="702" y="832"/>
                  </a:lnTo>
                  <a:lnTo>
                    <a:pt x="691" y="827"/>
                  </a:lnTo>
                  <a:lnTo>
                    <a:pt x="681" y="820"/>
                  </a:lnTo>
                  <a:lnTo>
                    <a:pt x="631" y="768"/>
                  </a:lnTo>
                  <a:lnTo>
                    <a:pt x="614" y="777"/>
                  </a:lnTo>
                  <a:lnTo>
                    <a:pt x="596" y="785"/>
                  </a:lnTo>
                  <a:lnTo>
                    <a:pt x="579" y="793"/>
                  </a:lnTo>
                  <a:lnTo>
                    <a:pt x="560" y="798"/>
                  </a:lnTo>
                  <a:lnTo>
                    <a:pt x="560" y="870"/>
                  </a:lnTo>
                  <a:lnTo>
                    <a:pt x="559" y="882"/>
                  </a:lnTo>
                  <a:lnTo>
                    <a:pt x="556" y="892"/>
                  </a:lnTo>
                  <a:lnTo>
                    <a:pt x="550" y="902"/>
                  </a:lnTo>
                  <a:lnTo>
                    <a:pt x="543" y="911"/>
                  </a:lnTo>
                  <a:lnTo>
                    <a:pt x="534" y="918"/>
                  </a:lnTo>
                  <a:lnTo>
                    <a:pt x="524" y="924"/>
                  </a:lnTo>
                  <a:lnTo>
                    <a:pt x="514" y="927"/>
                  </a:lnTo>
                  <a:lnTo>
                    <a:pt x="503" y="928"/>
                  </a:lnTo>
                  <a:close/>
                </a:path>
              </a:pathLst>
            </a:custGeom>
            <a:grpFill/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21" name="Freeform 468"/>
            <p:cNvSpPr>
              <a:spLocks noEditPoints="1"/>
            </p:cNvSpPr>
            <p:nvPr/>
          </p:nvSpPr>
          <p:spPr bwMode="auto">
            <a:xfrm>
              <a:off x="5140870" y="3894917"/>
              <a:ext cx="187823" cy="186367"/>
            </a:xfrm>
            <a:custGeom>
              <a:avLst/>
              <a:gdLst>
                <a:gd name="T0" fmla="*/ 161 w 386"/>
                <a:gd name="T1" fmla="*/ 42 h 386"/>
                <a:gd name="T2" fmla="*/ 119 w 386"/>
                <a:gd name="T3" fmla="*/ 58 h 386"/>
                <a:gd name="T4" fmla="*/ 83 w 386"/>
                <a:gd name="T5" fmla="*/ 84 h 386"/>
                <a:gd name="T6" fmla="*/ 56 w 386"/>
                <a:gd name="T7" fmla="*/ 120 h 386"/>
                <a:gd name="T8" fmla="*/ 42 w 386"/>
                <a:gd name="T9" fmla="*/ 162 h 386"/>
                <a:gd name="T10" fmla="*/ 39 w 386"/>
                <a:gd name="T11" fmla="*/ 209 h 386"/>
                <a:gd name="T12" fmla="*/ 50 w 386"/>
                <a:gd name="T13" fmla="*/ 254 h 386"/>
                <a:gd name="T14" fmla="*/ 73 w 386"/>
                <a:gd name="T15" fmla="*/ 291 h 386"/>
                <a:gd name="T16" fmla="*/ 107 w 386"/>
                <a:gd name="T17" fmla="*/ 321 h 386"/>
                <a:gd name="T18" fmla="*/ 147 w 386"/>
                <a:gd name="T19" fmla="*/ 342 h 386"/>
                <a:gd name="T20" fmla="*/ 193 w 386"/>
                <a:gd name="T21" fmla="*/ 347 h 386"/>
                <a:gd name="T22" fmla="*/ 239 w 386"/>
                <a:gd name="T23" fmla="*/ 342 h 386"/>
                <a:gd name="T24" fmla="*/ 279 w 386"/>
                <a:gd name="T25" fmla="*/ 321 h 386"/>
                <a:gd name="T26" fmla="*/ 311 w 386"/>
                <a:gd name="T27" fmla="*/ 291 h 386"/>
                <a:gd name="T28" fmla="*/ 335 w 386"/>
                <a:gd name="T29" fmla="*/ 254 h 386"/>
                <a:gd name="T30" fmla="*/ 346 w 386"/>
                <a:gd name="T31" fmla="*/ 209 h 386"/>
                <a:gd name="T32" fmla="*/ 344 w 386"/>
                <a:gd name="T33" fmla="*/ 162 h 386"/>
                <a:gd name="T34" fmla="*/ 328 w 386"/>
                <a:gd name="T35" fmla="*/ 120 h 386"/>
                <a:gd name="T36" fmla="*/ 302 w 386"/>
                <a:gd name="T37" fmla="*/ 84 h 386"/>
                <a:gd name="T38" fmla="*/ 266 w 386"/>
                <a:gd name="T39" fmla="*/ 58 h 386"/>
                <a:gd name="T40" fmla="*/ 223 w 386"/>
                <a:gd name="T41" fmla="*/ 42 h 386"/>
                <a:gd name="T42" fmla="*/ 193 w 386"/>
                <a:gd name="T43" fmla="*/ 386 h 386"/>
                <a:gd name="T44" fmla="*/ 135 w 386"/>
                <a:gd name="T45" fmla="*/ 378 h 386"/>
                <a:gd name="T46" fmla="*/ 85 w 386"/>
                <a:gd name="T47" fmla="*/ 353 h 386"/>
                <a:gd name="T48" fmla="*/ 43 w 386"/>
                <a:gd name="T49" fmla="*/ 316 h 386"/>
                <a:gd name="T50" fmla="*/ 14 w 386"/>
                <a:gd name="T51" fmla="*/ 268 h 386"/>
                <a:gd name="T52" fmla="*/ 0 w 386"/>
                <a:gd name="T53" fmla="*/ 213 h 386"/>
                <a:gd name="T54" fmla="*/ 3 w 386"/>
                <a:gd name="T55" fmla="*/ 154 h 386"/>
                <a:gd name="T56" fmla="*/ 23 w 386"/>
                <a:gd name="T57" fmla="*/ 101 h 386"/>
                <a:gd name="T58" fmla="*/ 56 w 386"/>
                <a:gd name="T59" fmla="*/ 56 h 386"/>
                <a:gd name="T60" fmla="*/ 101 w 386"/>
                <a:gd name="T61" fmla="*/ 23 h 386"/>
                <a:gd name="T62" fmla="*/ 154 w 386"/>
                <a:gd name="T63" fmla="*/ 5 h 386"/>
                <a:gd name="T64" fmla="*/ 212 w 386"/>
                <a:gd name="T65" fmla="*/ 2 h 386"/>
                <a:gd name="T66" fmla="*/ 268 w 386"/>
                <a:gd name="T67" fmla="*/ 16 h 386"/>
                <a:gd name="T68" fmla="*/ 315 w 386"/>
                <a:gd name="T69" fmla="*/ 45 h 386"/>
                <a:gd name="T70" fmla="*/ 353 w 386"/>
                <a:gd name="T71" fmla="*/ 85 h 386"/>
                <a:gd name="T72" fmla="*/ 377 w 386"/>
                <a:gd name="T73" fmla="*/ 136 h 386"/>
                <a:gd name="T74" fmla="*/ 386 w 386"/>
                <a:gd name="T75" fmla="*/ 193 h 386"/>
                <a:gd name="T76" fmla="*/ 377 w 386"/>
                <a:gd name="T77" fmla="*/ 251 h 386"/>
                <a:gd name="T78" fmla="*/ 353 w 386"/>
                <a:gd name="T79" fmla="*/ 301 h 386"/>
                <a:gd name="T80" fmla="*/ 315 w 386"/>
                <a:gd name="T81" fmla="*/ 343 h 386"/>
                <a:gd name="T82" fmla="*/ 268 w 386"/>
                <a:gd name="T83" fmla="*/ 372 h 386"/>
                <a:gd name="T84" fmla="*/ 212 w 386"/>
                <a:gd name="T85" fmla="*/ 385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86" h="386">
                  <a:moveTo>
                    <a:pt x="193" y="39"/>
                  </a:moveTo>
                  <a:lnTo>
                    <a:pt x="177" y="39"/>
                  </a:lnTo>
                  <a:lnTo>
                    <a:pt x="161" y="42"/>
                  </a:lnTo>
                  <a:lnTo>
                    <a:pt x="147" y="46"/>
                  </a:lnTo>
                  <a:lnTo>
                    <a:pt x="132" y="51"/>
                  </a:lnTo>
                  <a:lnTo>
                    <a:pt x="119" y="58"/>
                  </a:lnTo>
                  <a:lnTo>
                    <a:pt x="107" y="65"/>
                  </a:lnTo>
                  <a:lnTo>
                    <a:pt x="95" y="74"/>
                  </a:lnTo>
                  <a:lnTo>
                    <a:pt x="83" y="84"/>
                  </a:lnTo>
                  <a:lnTo>
                    <a:pt x="73" y="95"/>
                  </a:lnTo>
                  <a:lnTo>
                    <a:pt x="65" y="107"/>
                  </a:lnTo>
                  <a:lnTo>
                    <a:pt x="56" y="120"/>
                  </a:lnTo>
                  <a:lnTo>
                    <a:pt x="50" y="133"/>
                  </a:lnTo>
                  <a:lnTo>
                    <a:pt x="45" y="147"/>
                  </a:lnTo>
                  <a:lnTo>
                    <a:pt x="42" y="162"/>
                  </a:lnTo>
                  <a:lnTo>
                    <a:pt x="39" y="177"/>
                  </a:lnTo>
                  <a:lnTo>
                    <a:pt x="37" y="193"/>
                  </a:lnTo>
                  <a:lnTo>
                    <a:pt x="39" y="209"/>
                  </a:lnTo>
                  <a:lnTo>
                    <a:pt x="42" y="225"/>
                  </a:lnTo>
                  <a:lnTo>
                    <a:pt x="45" y="239"/>
                  </a:lnTo>
                  <a:lnTo>
                    <a:pt x="50" y="254"/>
                  </a:lnTo>
                  <a:lnTo>
                    <a:pt x="56" y="267"/>
                  </a:lnTo>
                  <a:lnTo>
                    <a:pt x="65" y="280"/>
                  </a:lnTo>
                  <a:lnTo>
                    <a:pt x="73" y="291"/>
                  </a:lnTo>
                  <a:lnTo>
                    <a:pt x="83" y="303"/>
                  </a:lnTo>
                  <a:lnTo>
                    <a:pt x="95" y="313"/>
                  </a:lnTo>
                  <a:lnTo>
                    <a:pt x="107" y="321"/>
                  </a:lnTo>
                  <a:lnTo>
                    <a:pt x="119" y="329"/>
                  </a:lnTo>
                  <a:lnTo>
                    <a:pt x="132" y="336"/>
                  </a:lnTo>
                  <a:lnTo>
                    <a:pt x="147" y="342"/>
                  </a:lnTo>
                  <a:lnTo>
                    <a:pt x="161" y="345"/>
                  </a:lnTo>
                  <a:lnTo>
                    <a:pt x="177" y="347"/>
                  </a:lnTo>
                  <a:lnTo>
                    <a:pt x="193" y="347"/>
                  </a:lnTo>
                  <a:lnTo>
                    <a:pt x="209" y="347"/>
                  </a:lnTo>
                  <a:lnTo>
                    <a:pt x="223" y="345"/>
                  </a:lnTo>
                  <a:lnTo>
                    <a:pt x="239" y="342"/>
                  </a:lnTo>
                  <a:lnTo>
                    <a:pt x="252" y="336"/>
                  </a:lnTo>
                  <a:lnTo>
                    <a:pt x="266" y="329"/>
                  </a:lnTo>
                  <a:lnTo>
                    <a:pt x="279" y="321"/>
                  </a:lnTo>
                  <a:lnTo>
                    <a:pt x="291" y="313"/>
                  </a:lnTo>
                  <a:lnTo>
                    <a:pt x="302" y="303"/>
                  </a:lnTo>
                  <a:lnTo>
                    <a:pt x="311" y="291"/>
                  </a:lnTo>
                  <a:lnTo>
                    <a:pt x="321" y="280"/>
                  </a:lnTo>
                  <a:lnTo>
                    <a:pt x="328" y="267"/>
                  </a:lnTo>
                  <a:lnTo>
                    <a:pt x="335" y="254"/>
                  </a:lnTo>
                  <a:lnTo>
                    <a:pt x="340" y="239"/>
                  </a:lnTo>
                  <a:lnTo>
                    <a:pt x="344" y="225"/>
                  </a:lnTo>
                  <a:lnTo>
                    <a:pt x="346" y="209"/>
                  </a:lnTo>
                  <a:lnTo>
                    <a:pt x="347" y="193"/>
                  </a:lnTo>
                  <a:lnTo>
                    <a:pt x="346" y="177"/>
                  </a:lnTo>
                  <a:lnTo>
                    <a:pt x="344" y="162"/>
                  </a:lnTo>
                  <a:lnTo>
                    <a:pt x="340" y="147"/>
                  </a:lnTo>
                  <a:lnTo>
                    <a:pt x="335" y="133"/>
                  </a:lnTo>
                  <a:lnTo>
                    <a:pt x="328" y="120"/>
                  </a:lnTo>
                  <a:lnTo>
                    <a:pt x="321" y="107"/>
                  </a:lnTo>
                  <a:lnTo>
                    <a:pt x="311" y="95"/>
                  </a:lnTo>
                  <a:lnTo>
                    <a:pt x="302" y="84"/>
                  </a:lnTo>
                  <a:lnTo>
                    <a:pt x="291" y="74"/>
                  </a:lnTo>
                  <a:lnTo>
                    <a:pt x="279" y="65"/>
                  </a:lnTo>
                  <a:lnTo>
                    <a:pt x="266" y="58"/>
                  </a:lnTo>
                  <a:lnTo>
                    <a:pt x="252" y="51"/>
                  </a:lnTo>
                  <a:lnTo>
                    <a:pt x="239" y="46"/>
                  </a:lnTo>
                  <a:lnTo>
                    <a:pt x="223" y="42"/>
                  </a:lnTo>
                  <a:lnTo>
                    <a:pt x="209" y="39"/>
                  </a:lnTo>
                  <a:lnTo>
                    <a:pt x="193" y="39"/>
                  </a:lnTo>
                  <a:close/>
                  <a:moveTo>
                    <a:pt x="193" y="386"/>
                  </a:moveTo>
                  <a:lnTo>
                    <a:pt x="173" y="385"/>
                  </a:lnTo>
                  <a:lnTo>
                    <a:pt x="154" y="382"/>
                  </a:lnTo>
                  <a:lnTo>
                    <a:pt x="135" y="378"/>
                  </a:lnTo>
                  <a:lnTo>
                    <a:pt x="118" y="372"/>
                  </a:lnTo>
                  <a:lnTo>
                    <a:pt x="101" y="363"/>
                  </a:lnTo>
                  <a:lnTo>
                    <a:pt x="85" y="353"/>
                  </a:lnTo>
                  <a:lnTo>
                    <a:pt x="69" y="343"/>
                  </a:lnTo>
                  <a:lnTo>
                    <a:pt x="56" y="330"/>
                  </a:lnTo>
                  <a:lnTo>
                    <a:pt x="43" y="316"/>
                  </a:lnTo>
                  <a:lnTo>
                    <a:pt x="33" y="301"/>
                  </a:lnTo>
                  <a:lnTo>
                    <a:pt x="23" y="285"/>
                  </a:lnTo>
                  <a:lnTo>
                    <a:pt x="14" y="268"/>
                  </a:lnTo>
                  <a:lnTo>
                    <a:pt x="9" y="251"/>
                  </a:lnTo>
                  <a:lnTo>
                    <a:pt x="3" y="232"/>
                  </a:lnTo>
                  <a:lnTo>
                    <a:pt x="0" y="213"/>
                  </a:lnTo>
                  <a:lnTo>
                    <a:pt x="0" y="193"/>
                  </a:lnTo>
                  <a:lnTo>
                    <a:pt x="0" y="173"/>
                  </a:lnTo>
                  <a:lnTo>
                    <a:pt x="3" y="154"/>
                  </a:lnTo>
                  <a:lnTo>
                    <a:pt x="9" y="136"/>
                  </a:lnTo>
                  <a:lnTo>
                    <a:pt x="14" y="118"/>
                  </a:lnTo>
                  <a:lnTo>
                    <a:pt x="23" y="101"/>
                  </a:lnTo>
                  <a:lnTo>
                    <a:pt x="33" y="85"/>
                  </a:lnTo>
                  <a:lnTo>
                    <a:pt x="43" y="71"/>
                  </a:lnTo>
                  <a:lnTo>
                    <a:pt x="56" y="56"/>
                  </a:lnTo>
                  <a:lnTo>
                    <a:pt x="69" y="45"/>
                  </a:lnTo>
                  <a:lnTo>
                    <a:pt x="85" y="33"/>
                  </a:lnTo>
                  <a:lnTo>
                    <a:pt x="101" y="23"/>
                  </a:lnTo>
                  <a:lnTo>
                    <a:pt x="118" y="16"/>
                  </a:lnTo>
                  <a:lnTo>
                    <a:pt x="135" y="9"/>
                  </a:lnTo>
                  <a:lnTo>
                    <a:pt x="154" y="5"/>
                  </a:lnTo>
                  <a:lnTo>
                    <a:pt x="173" y="2"/>
                  </a:lnTo>
                  <a:lnTo>
                    <a:pt x="193" y="0"/>
                  </a:lnTo>
                  <a:lnTo>
                    <a:pt x="212" y="2"/>
                  </a:lnTo>
                  <a:lnTo>
                    <a:pt x="232" y="5"/>
                  </a:lnTo>
                  <a:lnTo>
                    <a:pt x="251" y="9"/>
                  </a:lnTo>
                  <a:lnTo>
                    <a:pt x="268" y="16"/>
                  </a:lnTo>
                  <a:lnTo>
                    <a:pt x="285" y="23"/>
                  </a:lnTo>
                  <a:lnTo>
                    <a:pt x="301" y="33"/>
                  </a:lnTo>
                  <a:lnTo>
                    <a:pt x="315" y="45"/>
                  </a:lnTo>
                  <a:lnTo>
                    <a:pt x="330" y="56"/>
                  </a:lnTo>
                  <a:lnTo>
                    <a:pt x="341" y="71"/>
                  </a:lnTo>
                  <a:lnTo>
                    <a:pt x="353" y="85"/>
                  </a:lnTo>
                  <a:lnTo>
                    <a:pt x="363" y="101"/>
                  </a:lnTo>
                  <a:lnTo>
                    <a:pt x="370" y="118"/>
                  </a:lnTo>
                  <a:lnTo>
                    <a:pt x="377" y="136"/>
                  </a:lnTo>
                  <a:lnTo>
                    <a:pt x="382" y="154"/>
                  </a:lnTo>
                  <a:lnTo>
                    <a:pt x="384" y="173"/>
                  </a:lnTo>
                  <a:lnTo>
                    <a:pt x="386" y="193"/>
                  </a:lnTo>
                  <a:lnTo>
                    <a:pt x="384" y="213"/>
                  </a:lnTo>
                  <a:lnTo>
                    <a:pt x="382" y="232"/>
                  </a:lnTo>
                  <a:lnTo>
                    <a:pt x="377" y="251"/>
                  </a:lnTo>
                  <a:lnTo>
                    <a:pt x="370" y="268"/>
                  </a:lnTo>
                  <a:lnTo>
                    <a:pt x="363" y="285"/>
                  </a:lnTo>
                  <a:lnTo>
                    <a:pt x="353" y="301"/>
                  </a:lnTo>
                  <a:lnTo>
                    <a:pt x="341" y="316"/>
                  </a:lnTo>
                  <a:lnTo>
                    <a:pt x="330" y="330"/>
                  </a:lnTo>
                  <a:lnTo>
                    <a:pt x="315" y="343"/>
                  </a:lnTo>
                  <a:lnTo>
                    <a:pt x="301" y="353"/>
                  </a:lnTo>
                  <a:lnTo>
                    <a:pt x="285" y="363"/>
                  </a:lnTo>
                  <a:lnTo>
                    <a:pt x="268" y="372"/>
                  </a:lnTo>
                  <a:lnTo>
                    <a:pt x="251" y="378"/>
                  </a:lnTo>
                  <a:lnTo>
                    <a:pt x="232" y="382"/>
                  </a:lnTo>
                  <a:lnTo>
                    <a:pt x="212" y="385"/>
                  </a:lnTo>
                  <a:lnTo>
                    <a:pt x="193" y="386"/>
                  </a:lnTo>
                  <a:close/>
                </a:path>
              </a:pathLst>
            </a:custGeom>
            <a:grpFill/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6584702" y="1458312"/>
            <a:ext cx="667837" cy="669994"/>
            <a:chOff x="5009825" y="3762422"/>
            <a:chExt cx="449901" cy="451357"/>
          </a:xfrm>
          <a:solidFill>
            <a:schemeClr val="tx1">
              <a:lumMod val="95000"/>
              <a:lumOff val="5000"/>
            </a:schemeClr>
          </a:solidFill>
        </p:grpSpPr>
        <p:sp>
          <p:nvSpPr>
            <p:cNvPr id="23" name="Freeform 467"/>
            <p:cNvSpPr>
              <a:spLocks noEditPoints="1"/>
            </p:cNvSpPr>
            <p:nvPr/>
          </p:nvSpPr>
          <p:spPr bwMode="auto">
            <a:xfrm>
              <a:off x="5009825" y="3762422"/>
              <a:ext cx="449901" cy="451357"/>
            </a:xfrm>
            <a:custGeom>
              <a:avLst/>
              <a:gdLst>
                <a:gd name="T0" fmla="*/ 390 w 928"/>
                <a:gd name="T1" fmla="*/ 764 h 928"/>
                <a:gd name="T2" fmla="*/ 408 w 928"/>
                <a:gd name="T3" fmla="*/ 878 h 928"/>
                <a:gd name="T4" fmla="*/ 503 w 928"/>
                <a:gd name="T5" fmla="*/ 889 h 928"/>
                <a:gd name="T6" fmla="*/ 522 w 928"/>
                <a:gd name="T7" fmla="*/ 873 h 928"/>
                <a:gd name="T8" fmla="*/ 559 w 928"/>
                <a:gd name="T9" fmla="*/ 758 h 928"/>
                <a:gd name="T10" fmla="*/ 648 w 928"/>
                <a:gd name="T11" fmla="*/ 731 h 928"/>
                <a:gd name="T12" fmla="*/ 730 w 928"/>
                <a:gd name="T13" fmla="*/ 796 h 928"/>
                <a:gd name="T14" fmla="*/ 797 w 928"/>
                <a:gd name="T15" fmla="*/ 724 h 928"/>
                <a:gd name="T16" fmla="*/ 725 w 928"/>
                <a:gd name="T17" fmla="*/ 637 h 928"/>
                <a:gd name="T18" fmla="*/ 766 w 928"/>
                <a:gd name="T19" fmla="*/ 531 h 928"/>
                <a:gd name="T20" fmla="*/ 880 w 928"/>
                <a:gd name="T21" fmla="*/ 519 h 928"/>
                <a:gd name="T22" fmla="*/ 887 w 928"/>
                <a:gd name="T23" fmla="*/ 423 h 928"/>
                <a:gd name="T24" fmla="*/ 869 w 928"/>
                <a:gd name="T25" fmla="*/ 407 h 928"/>
                <a:gd name="T26" fmla="*/ 749 w 928"/>
                <a:gd name="T27" fmla="*/ 346 h 928"/>
                <a:gd name="T28" fmla="*/ 791 w 928"/>
                <a:gd name="T29" fmla="*/ 218 h 928"/>
                <a:gd name="T30" fmla="*/ 794 w 928"/>
                <a:gd name="T31" fmla="*/ 193 h 928"/>
                <a:gd name="T32" fmla="*/ 719 w 928"/>
                <a:gd name="T33" fmla="*/ 132 h 928"/>
                <a:gd name="T34" fmla="*/ 630 w 928"/>
                <a:gd name="T35" fmla="*/ 204 h 928"/>
                <a:gd name="T36" fmla="*/ 526 w 928"/>
                <a:gd name="T37" fmla="*/ 157 h 928"/>
                <a:gd name="T38" fmla="*/ 516 w 928"/>
                <a:gd name="T39" fmla="*/ 45 h 928"/>
                <a:gd name="T40" fmla="*/ 418 w 928"/>
                <a:gd name="T41" fmla="*/ 41 h 928"/>
                <a:gd name="T42" fmla="*/ 406 w 928"/>
                <a:gd name="T43" fmla="*/ 146 h 928"/>
                <a:gd name="T44" fmla="*/ 324 w 928"/>
                <a:gd name="T45" fmla="*/ 189 h 928"/>
                <a:gd name="T46" fmla="*/ 215 w 928"/>
                <a:gd name="T47" fmla="*/ 134 h 928"/>
                <a:gd name="T48" fmla="*/ 190 w 928"/>
                <a:gd name="T49" fmla="*/ 137 h 928"/>
                <a:gd name="T50" fmla="*/ 131 w 928"/>
                <a:gd name="T51" fmla="*/ 212 h 928"/>
                <a:gd name="T52" fmla="*/ 200 w 928"/>
                <a:gd name="T53" fmla="*/ 304 h 928"/>
                <a:gd name="T54" fmla="*/ 151 w 928"/>
                <a:gd name="T55" fmla="*/ 405 h 928"/>
                <a:gd name="T56" fmla="*/ 42 w 928"/>
                <a:gd name="T57" fmla="*/ 415 h 928"/>
                <a:gd name="T58" fmla="*/ 42 w 928"/>
                <a:gd name="T59" fmla="*/ 513 h 928"/>
                <a:gd name="T60" fmla="*/ 151 w 928"/>
                <a:gd name="T61" fmla="*/ 523 h 928"/>
                <a:gd name="T62" fmla="*/ 200 w 928"/>
                <a:gd name="T63" fmla="*/ 626 h 928"/>
                <a:gd name="T64" fmla="*/ 131 w 928"/>
                <a:gd name="T65" fmla="*/ 716 h 928"/>
                <a:gd name="T66" fmla="*/ 190 w 928"/>
                <a:gd name="T67" fmla="*/ 793 h 928"/>
                <a:gd name="T68" fmla="*/ 215 w 928"/>
                <a:gd name="T69" fmla="*/ 794 h 928"/>
                <a:gd name="T70" fmla="*/ 503 w 928"/>
                <a:gd name="T71" fmla="*/ 928 h 928"/>
                <a:gd name="T72" fmla="*/ 372 w 928"/>
                <a:gd name="T73" fmla="*/ 892 h 928"/>
                <a:gd name="T74" fmla="*/ 295 w 928"/>
                <a:gd name="T75" fmla="*/ 768 h 928"/>
                <a:gd name="T76" fmla="*/ 182 w 928"/>
                <a:gd name="T77" fmla="*/ 832 h 928"/>
                <a:gd name="T78" fmla="*/ 91 w 928"/>
                <a:gd name="T79" fmla="*/ 724 h 928"/>
                <a:gd name="T80" fmla="*/ 143 w 928"/>
                <a:gd name="T81" fmla="*/ 597 h 928"/>
                <a:gd name="T82" fmla="*/ 18 w 928"/>
                <a:gd name="T83" fmla="*/ 543 h 928"/>
                <a:gd name="T84" fmla="*/ 5 w 928"/>
                <a:gd name="T85" fmla="*/ 404 h 928"/>
                <a:gd name="T86" fmla="*/ 130 w 928"/>
                <a:gd name="T87" fmla="*/ 368 h 928"/>
                <a:gd name="T88" fmla="*/ 95 w 928"/>
                <a:gd name="T89" fmla="*/ 227 h 928"/>
                <a:gd name="T90" fmla="*/ 163 w 928"/>
                <a:gd name="T91" fmla="*/ 110 h 928"/>
                <a:gd name="T92" fmla="*/ 236 w 928"/>
                <a:gd name="T93" fmla="*/ 103 h 928"/>
                <a:gd name="T94" fmla="*/ 367 w 928"/>
                <a:gd name="T95" fmla="*/ 58 h 928"/>
                <a:gd name="T96" fmla="*/ 414 w 928"/>
                <a:gd name="T97" fmla="*/ 2 h 928"/>
                <a:gd name="T98" fmla="*/ 550 w 928"/>
                <a:gd name="T99" fmla="*/ 26 h 928"/>
                <a:gd name="T100" fmla="*/ 614 w 928"/>
                <a:gd name="T101" fmla="*/ 152 h 928"/>
                <a:gd name="T102" fmla="*/ 735 w 928"/>
                <a:gd name="T103" fmla="*/ 94 h 928"/>
                <a:gd name="T104" fmla="*/ 834 w 928"/>
                <a:gd name="T105" fmla="*/ 193 h 928"/>
                <a:gd name="T106" fmla="*/ 776 w 928"/>
                <a:gd name="T107" fmla="*/ 314 h 928"/>
                <a:gd name="T108" fmla="*/ 902 w 928"/>
                <a:gd name="T109" fmla="*/ 378 h 928"/>
                <a:gd name="T110" fmla="*/ 926 w 928"/>
                <a:gd name="T111" fmla="*/ 515 h 928"/>
                <a:gd name="T112" fmla="*/ 869 w 928"/>
                <a:gd name="T113" fmla="*/ 561 h 928"/>
                <a:gd name="T114" fmla="*/ 825 w 928"/>
                <a:gd name="T115" fmla="*/ 692 h 928"/>
                <a:gd name="T116" fmla="*/ 818 w 928"/>
                <a:gd name="T117" fmla="*/ 765 h 928"/>
                <a:gd name="T118" fmla="*/ 702 w 928"/>
                <a:gd name="T119" fmla="*/ 832 h 928"/>
                <a:gd name="T120" fmla="*/ 560 w 928"/>
                <a:gd name="T121" fmla="*/ 798 h 928"/>
                <a:gd name="T122" fmla="*/ 524 w 928"/>
                <a:gd name="T123" fmla="*/ 924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28" h="928">
                  <a:moveTo>
                    <a:pt x="293" y="725"/>
                  </a:moveTo>
                  <a:lnTo>
                    <a:pt x="298" y="726"/>
                  </a:lnTo>
                  <a:lnTo>
                    <a:pt x="303" y="728"/>
                  </a:lnTo>
                  <a:lnTo>
                    <a:pt x="324" y="739"/>
                  </a:lnTo>
                  <a:lnTo>
                    <a:pt x="346" y="749"/>
                  </a:lnTo>
                  <a:lnTo>
                    <a:pt x="367" y="758"/>
                  </a:lnTo>
                  <a:lnTo>
                    <a:pt x="390" y="764"/>
                  </a:lnTo>
                  <a:lnTo>
                    <a:pt x="396" y="767"/>
                  </a:lnTo>
                  <a:lnTo>
                    <a:pt x="402" y="771"/>
                  </a:lnTo>
                  <a:lnTo>
                    <a:pt x="405" y="777"/>
                  </a:lnTo>
                  <a:lnTo>
                    <a:pt x="406" y="783"/>
                  </a:lnTo>
                  <a:lnTo>
                    <a:pt x="406" y="870"/>
                  </a:lnTo>
                  <a:lnTo>
                    <a:pt x="406" y="873"/>
                  </a:lnTo>
                  <a:lnTo>
                    <a:pt x="408" y="878"/>
                  </a:lnTo>
                  <a:lnTo>
                    <a:pt x="409" y="881"/>
                  </a:lnTo>
                  <a:lnTo>
                    <a:pt x="411" y="883"/>
                  </a:lnTo>
                  <a:lnTo>
                    <a:pt x="414" y="886"/>
                  </a:lnTo>
                  <a:lnTo>
                    <a:pt x="418" y="888"/>
                  </a:lnTo>
                  <a:lnTo>
                    <a:pt x="421" y="889"/>
                  </a:lnTo>
                  <a:lnTo>
                    <a:pt x="425" y="889"/>
                  </a:lnTo>
                  <a:lnTo>
                    <a:pt x="503" y="889"/>
                  </a:lnTo>
                  <a:lnTo>
                    <a:pt x="506" y="889"/>
                  </a:lnTo>
                  <a:lnTo>
                    <a:pt x="510" y="888"/>
                  </a:lnTo>
                  <a:lnTo>
                    <a:pt x="513" y="886"/>
                  </a:lnTo>
                  <a:lnTo>
                    <a:pt x="516" y="883"/>
                  </a:lnTo>
                  <a:lnTo>
                    <a:pt x="519" y="881"/>
                  </a:lnTo>
                  <a:lnTo>
                    <a:pt x="520" y="878"/>
                  </a:lnTo>
                  <a:lnTo>
                    <a:pt x="522" y="873"/>
                  </a:lnTo>
                  <a:lnTo>
                    <a:pt x="522" y="870"/>
                  </a:lnTo>
                  <a:lnTo>
                    <a:pt x="522" y="783"/>
                  </a:lnTo>
                  <a:lnTo>
                    <a:pt x="523" y="777"/>
                  </a:lnTo>
                  <a:lnTo>
                    <a:pt x="526" y="771"/>
                  </a:lnTo>
                  <a:lnTo>
                    <a:pt x="530" y="767"/>
                  </a:lnTo>
                  <a:lnTo>
                    <a:pt x="536" y="764"/>
                  </a:lnTo>
                  <a:lnTo>
                    <a:pt x="559" y="758"/>
                  </a:lnTo>
                  <a:lnTo>
                    <a:pt x="582" y="749"/>
                  </a:lnTo>
                  <a:lnTo>
                    <a:pt x="604" y="739"/>
                  </a:lnTo>
                  <a:lnTo>
                    <a:pt x="624" y="728"/>
                  </a:lnTo>
                  <a:lnTo>
                    <a:pt x="631" y="725"/>
                  </a:lnTo>
                  <a:lnTo>
                    <a:pt x="637" y="725"/>
                  </a:lnTo>
                  <a:lnTo>
                    <a:pt x="642" y="726"/>
                  </a:lnTo>
                  <a:lnTo>
                    <a:pt x="648" y="731"/>
                  </a:lnTo>
                  <a:lnTo>
                    <a:pt x="709" y="793"/>
                  </a:lnTo>
                  <a:lnTo>
                    <a:pt x="712" y="794"/>
                  </a:lnTo>
                  <a:lnTo>
                    <a:pt x="716" y="796"/>
                  </a:lnTo>
                  <a:lnTo>
                    <a:pt x="719" y="797"/>
                  </a:lnTo>
                  <a:lnTo>
                    <a:pt x="723" y="797"/>
                  </a:lnTo>
                  <a:lnTo>
                    <a:pt x="726" y="797"/>
                  </a:lnTo>
                  <a:lnTo>
                    <a:pt x="730" y="796"/>
                  </a:lnTo>
                  <a:lnTo>
                    <a:pt x="733" y="794"/>
                  </a:lnTo>
                  <a:lnTo>
                    <a:pt x="736" y="793"/>
                  </a:lnTo>
                  <a:lnTo>
                    <a:pt x="791" y="738"/>
                  </a:lnTo>
                  <a:lnTo>
                    <a:pt x="794" y="735"/>
                  </a:lnTo>
                  <a:lnTo>
                    <a:pt x="795" y="731"/>
                  </a:lnTo>
                  <a:lnTo>
                    <a:pt x="797" y="728"/>
                  </a:lnTo>
                  <a:lnTo>
                    <a:pt x="797" y="724"/>
                  </a:lnTo>
                  <a:lnTo>
                    <a:pt x="797" y="721"/>
                  </a:lnTo>
                  <a:lnTo>
                    <a:pt x="795" y="716"/>
                  </a:lnTo>
                  <a:lnTo>
                    <a:pt x="794" y="713"/>
                  </a:lnTo>
                  <a:lnTo>
                    <a:pt x="791" y="711"/>
                  </a:lnTo>
                  <a:lnTo>
                    <a:pt x="730" y="649"/>
                  </a:lnTo>
                  <a:lnTo>
                    <a:pt x="726" y="643"/>
                  </a:lnTo>
                  <a:lnTo>
                    <a:pt x="725" y="637"/>
                  </a:lnTo>
                  <a:lnTo>
                    <a:pt x="725" y="631"/>
                  </a:lnTo>
                  <a:lnTo>
                    <a:pt x="727" y="626"/>
                  </a:lnTo>
                  <a:lnTo>
                    <a:pt x="739" y="604"/>
                  </a:lnTo>
                  <a:lnTo>
                    <a:pt x="749" y="582"/>
                  </a:lnTo>
                  <a:lnTo>
                    <a:pt x="758" y="561"/>
                  </a:lnTo>
                  <a:lnTo>
                    <a:pt x="763" y="538"/>
                  </a:lnTo>
                  <a:lnTo>
                    <a:pt x="766" y="531"/>
                  </a:lnTo>
                  <a:lnTo>
                    <a:pt x="771" y="526"/>
                  </a:lnTo>
                  <a:lnTo>
                    <a:pt x="776" y="523"/>
                  </a:lnTo>
                  <a:lnTo>
                    <a:pt x="782" y="522"/>
                  </a:lnTo>
                  <a:lnTo>
                    <a:pt x="869" y="522"/>
                  </a:lnTo>
                  <a:lnTo>
                    <a:pt x="873" y="522"/>
                  </a:lnTo>
                  <a:lnTo>
                    <a:pt x="876" y="520"/>
                  </a:lnTo>
                  <a:lnTo>
                    <a:pt x="880" y="519"/>
                  </a:lnTo>
                  <a:lnTo>
                    <a:pt x="883" y="516"/>
                  </a:lnTo>
                  <a:lnTo>
                    <a:pt x="886" y="513"/>
                  </a:lnTo>
                  <a:lnTo>
                    <a:pt x="887" y="510"/>
                  </a:lnTo>
                  <a:lnTo>
                    <a:pt x="887" y="507"/>
                  </a:lnTo>
                  <a:lnTo>
                    <a:pt x="889" y="503"/>
                  </a:lnTo>
                  <a:lnTo>
                    <a:pt x="889" y="425"/>
                  </a:lnTo>
                  <a:lnTo>
                    <a:pt x="887" y="423"/>
                  </a:lnTo>
                  <a:lnTo>
                    <a:pt x="887" y="418"/>
                  </a:lnTo>
                  <a:lnTo>
                    <a:pt x="884" y="415"/>
                  </a:lnTo>
                  <a:lnTo>
                    <a:pt x="883" y="412"/>
                  </a:lnTo>
                  <a:lnTo>
                    <a:pt x="880" y="410"/>
                  </a:lnTo>
                  <a:lnTo>
                    <a:pt x="877" y="408"/>
                  </a:lnTo>
                  <a:lnTo>
                    <a:pt x="873" y="407"/>
                  </a:lnTo>
                  <a:lnTo>
                    <a:pt x="869" y="407"/>
                  </a:lnTo>
                  <a:lnTo>
                    <a:pt x="782" y="407"/>
                  </a:lnTo>
                  <a:lnTo>
                    <a:pt x="776" y="405"/>
                  </a:lnTo>
                  <a:lnTo>
                    <a:pt x="771" y="402"/>
                  </a:lnTo>
                  <a:lnTo>
                    <a:pt x="766" y="398"/>
                  </a:lnTo>
                  <a:lnTo>
                    <a:pt x="763" y="392"/>
                  </a:lnTo>
                  <a:lnTo>
                    <a:pt x="758" y="369"/>
                  </a:lnTo>
                  <a:lnTo>
                    <a:pt x="749" y="346"/>
                  </a:lnTo>
                  <a:lnTo>
                    <a:pt x="739" y="325"/>
                  </a:lnTo>
                  <a:lnTo>
                    <a:pt x="727" y="303"/>
                  </a:lnTo>
                  <a:lnTo>
                    <a:pt x="725" y="297"/>
                  </a:lnTo>
                  <a:lnTo>
                    <a:pt x="725" y="291"/>
                  </a:lnTo>
                  <a:lnTo>
                    <a:pt x="726" y="286"/>
                  </a:lnTo>
                  <a:lnTo>
                    <a:pt x="730" y="280"/>
                  </a:lnTo>
                  <a:lnTo>
                    <a:pt x="791" y="218"/>
                  </a:lnTo>
                  <a:lnTo>
                    <a:pt x="794" y="215"/>
                  </a:lnTo>
                  <a:lnTo>
                    <a:pt x="795" y="212"/>
                  </a:lnTo>
                  <a:lnTo>
                    <a:pt x="797" y="209"/>
                  </a:lnTo>
                  <a:lnTo>
                    <a:pt x="797" y="205"/>
                  </a:lnTo>
                  <a:lnTo>
                    <a:pt x="797" y="201"/>
                  </a:lnTo>
                  <a:lnTo>
                    <a:pt x="795" y="198"/>
                  </a:lnTo>
                  <a:lnTo>
                    <a:pt x="794" y="193"/>
                  </a:lnTo>
                  <a:lnTo>
                    <a:pt x="791" y="191"/>
                  </a:lnTo>
                  <a:lnTo>
                    <a:pt x="736" y="136"/>
                  </a:lnTo>
                  <a:lnTo>
                    <a:pt x="733" y="134"/>
                  </a:lnTo>
                  <a:lnTo>
                    <a:pt x="730" y="133"/>
                  </a:lnTo>
                  <a:lnTo>
                    <a:pt x="726" y="132"/>
                  </a:lnTo>
                  <a:lnTo>
                    <a:pt x="723" y="132"/>
                  </a:lnTo>
                  <a:lnTo>
                    <a:pt x="719" y="132"/>
                  </a:lnTo>
                  <a:lnTo>
                    <a:pt x="716" y="133"/>
                  </a:lnTo>
                  <a:lnTo>
                    <a:pt x="712" y="134"/>
                  </a:lnTo>
                  <a:lnTo>
                    <a:pt x="709" y="136"/>
                  </a:lnTo>
                  <a:lnTo>
                    <a:pt x="648" y="198"/>
                  </a:lnTo>
                  <a:lnTo>
                    <a:pt x="642" y="202"/>
                  </a:lnTo>
                  <a:lnTo>
                    <a:pt x="637" y="204"/>
                  </a:lnTo>
                  <a:lnTo>
                    <a:pt x="630" y="204"/>
                  </a:lnTo>
                  <a:lnTo>
                    <a:pt x="624" y="201"/>
                  </a:lnTo>
                  <a:lnTo>
                    <a:pt x="604" y="189"/>
                  </a:lnTo>
                  <a:lnTo>
                    <a:pt x="582" y="179"/>
                  </a:lnTo>
                  <a:lnTo>
                    <a:pt x="559" y="170"/>
                  </a:lnTo>
                  <a:lnTo>
                    <a:pt x="536" y="165"/>
                  </a:lnTo>
                  <a:lnTo>
                    <a:pt x="530" y="162"/>
                  </a:lnTo>
                  <a:lnTo>
                    <a:pt x="526" y="157"/>
                  </a:lnTo>
                  <a:lnTo>
                    <a:pt x="523" y="152"/>
                  </a:lnTo>
                  <a:lnTo>
                    <a:pt x="522" y="146"/>
                  </a:lnTo>
                  <a:lnTo>
                    <a:pt x="522" y="58"/>
                  </a:lnTo>
                  <a:lnTo>
                    <a:pt x="522" y="55"/>
                  </a:lnTo>
                  <a:lnTo>
                    <a:pt x="520" y="51"/>
                  </a:lnTo>
                  <a:lnTo>
                    <a:pt x="519" y="48"/>
                  </a:lnTo>
                  <a:lnTo>
                    <a:pt x="516" y="45"/>
                  </a:lnTo>
                  <a:lnTo>
                    <a:pt x="513" y="42"/>
                  </a:lnTo>
                  <a:lnTo>
                    <a:pt x="510" y="41"/>
                  </a:lnTo>
                  <a:lnTo>
                    <a:pt x="506" y="39"/>
                  </a:lnTo>
                  <a:lnTo>
                    <a:pt x="503" y="39"/>
                  </a:lnTo>
                  <a:lnTo>
                    <a:pt x="425" y="39"/>
                  </a:lnTo>
                  <a:lnTo>
                    <a:pt x="421" y="39"/>
                  </a:lnTo>
                  <a:lnTo>
                    <a:pt x="418" y="41"/>
                  </a:lnTo>
                  <a:lnTo>
                    <a:pt x="414" y="42"/>
                  </a:lnTo>
                  <a:lnTo>
                    <a:pt x="411" y="45"/>
                  </a:lnTo>
                  <a:lnTo>
                    <a:pt x="409" y="48"/>
                  </a:lnTo>
                  <a:lnTo>
                    <a:pt x="408" y="51"/>
                  </a:lnTo>
                  <a:lnTo>
                    <a:pt x="406" y="55"/>
                  </a:lnTo>
                  <a:lnTo>
                    <a:pt x="406" y="58"/>
                  </a:lnTo>
                  <a:lnTo>
                    <a:pt x="406" y="146"/>
                  </a:lnTo>
                  <a:lnTo>
                    <a:pt x="405" y="152"/>
                  </a:lnTo>
                  <a:lnTo>
                    <a:pt x="402" y="157"/>
                  </a:lnTo>
                  <a:lnTo>
                    <a:pt x="396" y="162"/>
                  </a:lnTo>
                  <a:lnTo>
                    <a:pt x="390" y="165"/>
                  </a:lnTo>
                  <a:lnTo>
                    <a:pt x="367" y="170"/>
                  </a:lnTo>
                  <a:lnTo>
                    <a:pt x="346" y="179"/>
                  </a:lnTo>
                  <a:lnTo>
                    <a:pt x="324" y="189"/>
                  </a:lnTo>
                  <a:lnTo>
                    <a:pt x="303" y="201"/>
                  </a:lnTo>
                  <a:lnTo>
                    <a:pt x="297" y="204"/>
                  </a:lnTo>
                  <a:lnTo>
                    <a:pt x="291" y="204"/>
                  </a:lnTo>
                  <a:lnTo>
                    <a:pt x="284" y="202"/>
                  </a:lnTo>
                  <a:lnTo>
                    <a:pt x="280" y="198"/>
                  </a:lnTo>
                  <a:lnTo>
                    <a:pt x="218" y="137"/>
                  </a:lnTo>
                  <a:lnTo>
                    <a:pt x="215" y="134"/>
                  </a:lnTo>
                  <a:lnTo>
                    <a:pt x="212" y="133"/>
                  </a:lnTo>
                  <a:lnTo>
                    <a:pt x="208" y="132"/>
                  </a:lnTo>
                  <a:lnTo>
                    <a:pt x="205" y="132"/>
                  </a:lnTo>
                  <a:lnTo>
                    <a:pt x="200" y="132"/>
                  </a:lnTo>
                  <a:lnTo>
                    <a:pt x="196" y="133"/>
                  </a:lnTo>
                  <a:lnTo>
                    <a:pt x="193" y="134"/>
                  </a:lnTo>
                  <a:lnTo>
                    <a:pt x="190" y="137"/>
                  </a:lnTo>
                  <a:lnTo>
                    <a:pt x="136" y="191"/>
                  </a:lnTo>
                  <a:lnTo>
                    <a:pt x="133" y="195"/>
                  </a:lnTo>
                  <a:lnTo>
                    <a:pt x="131" y="198"/>
                  </a:lnTo>
                  <a:lnTo>
                    <a:pt x="131" y="201"/>
                  </a:lnTo>
                  <a:lnTo>
                    <a:pt x="130" y="205"/>
                  </a:lnTo>
                  <a:lnTo>
                    <a:pt x="131" y="208"/>
                  </a:lnTo>
                  <a:lnTo>
                    <a:pt x="131" y="212"/>
                  </a:lnTo>
                  <a:lnTo>
                    <a:pt x="133" y="215"/>
                  </a:lnTo>
                  <a:lnTo>
                    <a:pt x="136" y="218"/>
                  </a:lnTo>
                  <a:lnTo>
                    <a:pt x="198" y="280"/>
                  </a:lnTo>
                  <a:lnTo>
                    <a:pt x="200" y="286"/>
                  </a:lnTo>
                  <a:lnTo>
                    <a:pt x="203" y="291"/>
                  </a:lnTo>
                  <a:lnTo>
                    <a:pt x="202" y="297"/>
                  </a:lnTo>
                  <a:lnTo>
                    <a:pt x="200" y="304"/>
                  </a:lnTo>
                  <a:lnTo>
                    <a:pt x="189" y="325"/>
                  </a:lnTo>
                  <a:lnTo>
                    <a:pt x="179" y="346"/>
                  </a:lnTo>
                  <a:lnTo>
                    <a:pt x="170" y="369"/>
                  </a:lnTo>
                  <a:lnTo>
                    <a:pt x="163" y="392"/>
                  </a:lnTo>
                  <a:lnTo>
                    <a:pt x="162" y="398"/>
                  </a:lnTo>
                  <a:lnTo>
                    <a:pt x="157" y="402"/>
                  </a:lnTo>
                  <a:lnTo>
                    <a:pt x="151" y="405"/>
                  </a:lnTo>
                  <a:lnTo>
                    <a:pt x="144" y="407"/>
                  </a:lnTo>
                  <a:lnTo>
                    <a:pt x="58" y="407"/>
                  </a:lnTo>
                  <a:lnTo>
                    <a:pt x="54" y="407"/>
                  </a:lnTo>
                  <a:lnTo>
                    <a:pt x="51" y="408"/>
                  </a:lnTo>
                  <a:lnTo>
                    <a:pt x="48" y="410"/>
                  </a:lnTo>
                  <a:lnTo>
                    <a:pt x="45" y="412"/>
                  </a:lnTo>
                  <a:lnTo>
                    <a:pt x="42" y="415"/>
                  </a:lnTo>
                  <a:lnTo>
                    <a:pt x="41" y="418"/>
                  </a:lnTo>
                  <a:lnTo>
                    <a:pt x="39" y="423"/>
                  </a:lnTo>
                  <a:lnTo>
                    <a:pt x="39" y="425"/>
                  </a:lnTo>
                  <a:lnTo>
                    <a:pt x="39" y="503"/>
                  </a:lnTo>
                  <a:lnTo>
                    <a:pt x="39" y="507"/>
                  </a:lnTo>
                  <a:lnTo>
                    <a:pt x="41" y="510"/>
                  </a:lnTo>
                  <a:lnTo>
                    <a:pt x="42" y="513"/>
                  </a:lnTo>
                  <a:lnTo>
                    <a:pt x="45" y="516"/>
                  </a:lnTo>
                  <a:lnTo>
                    <a:pt x="48" y="519"/>
                  </a:lnTo>
                  <a:lnTo>
                    <a:pt x="51" y="520"/>
                  </a:lnTo>
                  <a:lnTo>
                    <a:pt x="54" y="522"/>
                  </a:lnTo>
                  <a:lnTo>
                    <a:pt x="58" y="522"/>
                  </a:lnTo>
                  <a:lnTo>
                    <a:pt x="144" y="522"/>
                  </a:lnTo>
                  <a:lnTo>
                    <a:pt x="151" y="523"/>
                  </a:lnTo>
                  <a:lnTo>
                    <a:pt x="157" y="526"/>
                  </a:lnTo>
                  <a:lnTo>
                    <a:pt x="162" y="531"/>
                  </a:lnTo>
                  <a:lnTo>
                    <a:pt x="163" y="538"/>
                  </a:lnTo>
                  <a:lnTo>
                    <a:pt x="170" y="561"/>
                  </a:lnTo>
                  <a:lnTo>
                    <a:pt x="179" y="582"/>
                  </a:lnTo>
                  <a:lnTo>
                    <a:pt x="189" y="604"/>
                  </a:lnTo>
                  <a:lnTo>
                    <a:pt x="200" y="626"/>
                  </a:lnTo>
                  <a:lnTo>
                    <a:pt x="202" y="631"/>
                  </a:lnTo>
                  <a:lnTo>
                    <a:pt x="203" y="637"/>
                  </a:lnTo>
                  <a:lnTo>
                    <a:pt x="200" y="643"/>
                  </a:lnTo>
                  <a:lnTo>
                    <a:pt x="198" y="649"/>
                  </a:lnTo>
                  <a:lnTo>
                    <a:pt x="136" y="711"/>
                  </a:lnTo>
                  <a:lnTo>
                    <a:pt x="134" y="713"/>
                  </a:lnTo>
                  <a:lnTo>
                    <a:pt x="131" y="716"/>
                  </a:lnTo>
                  <a:lnTo>
                    <a:pt x="131" y="721"/>
                  </a:lnTo>
                  <a:lnTo>
                    <a:pt x="130" y="724"/>
                  </a:lnTo>
                  <a:lnTo>
                    <a:pt x="131" y="728"/>
                  </a:lnTo>
                  <a:lnTo>
                    <a:pt x="131" y="731"/>
                  </a:lnTo>
                  <a:lnTo>
                    <a:pt x="134" y="735"/>
                  </a:lnTo>
                  <a:lnTo>
                    <a:pt x="136" y="738"/>
                  </a:lnTo>
                  <a:lnTo>
                    <a:pt x="190" y="793"/>
                  </a:lnTo>
                  <a:lnTo>
                    <a:pt x="193" y="794"/>
                  </a:lnTo>
                  <a:lnTo>
                    <a:pt x="196" y="796"/>
                  </a:lnTo>
                  <a:lnTo>
                    <a:pt x="200" y="797"/>
                  </a:lnTo>
                  <a:lnTo>
                    <a:pt x="205" y="797"/>
                  </a:lnTo>
                  <a:lnTo>
                    <a:pt x="208" y="797"/>
                  </a:lnTo>
                  <a:lnTo>
                    <a:pt x="212" y="796"/>
                  </a:lnTo>
                  <a:lnTo>
                    <a:pt x="215" y="794"/>
                  </a:lnTo>
                  <a:lnTo>
                    <a:pt x="218" y="793"/>
                  </a:lnTo>
                  <a:lnTo>
                    <a:pt x="280" y="731"/>
                  </a:lnTo>
                  <a:lnTo>
                    <a:pt x="282" y="728"/>
                  </a:lnTo>
                  <a:lnTo>
                    <a:pt x="285" y="726"/>
                  </a:lnTo>
                  <a:lnTo>
                    <a:pt x="290" y="725"/>
                  </a:lnTo>
                  <a:lnTo>
                    <a:pt x="293" y="725"/>
                  </a:lnTo>
                  <a:close/>
                  <a:moveTo>
                    <a:pt x="503" y="928"/>
                  </a:moveTo>
                  <a:lnTo>
                    <a:pt x="425" y="928"/>
                  </a:lnTo>
                  <a:lnTo>
                    <a:pt x="414" y="927"/>
                  </a:lnTo>
                  <a:lnTo>
                    <a:pt x="402" y="924"/>
                  </a:lnTo>
                  <a:lnTo>
                    <a:pt x="392" y="918"/>
                  </a:lnTo>
                  <a:lnTo>
                    <a:pt x="383" y="911"/>
                  </a:lnTo>
                  <a:lnTo>
                    <a:pt x="378" y="902"/>
                  </a:lnTo>
                  <a:lnTo>
                    <a:pt x="372" y="892"/>
                  </a:lnTo>
                  <a:lnTo>
                    <a:pt x="369" y="882"/>
                  </a:lnTo>
                  <a:lnTo>
                    <a:pt x="367" y="870"/>
                  </a:lnTo>
                  <a:lnTo>
                    <a:pt x="367" y="798"/>
                  </a:lnTo>
                  <a:lnTo>
                    <a:pt x="349" y="793"/>
                  </a:lnTo>
                  <a:lnTo>
                    <a:pt x="330" y="785"/>
                  </a:lnTo>
                  <a:lnTo>
                    <a:pt x="313" y="777"/>
                  </a:lnTo>
                  <a:lnTo>
                    <a:pt x="295" y="768"/>
                  </a:lnTo>
                  <a:lnTo>
                    <a:pt x="245" y="820"/>
                  </a:lnTo>
                  <a:lnTo>
                    <a:pt x="236" y="827"/>
                  </a:lnTo>
                  <a:lnTo>
                    <a:pt x="226" y="832"/>
                  </a:lnTo>
                  <a:lnTo>
                    <a:pt x="215" y="834"/>
                  </a:lnTo>
                  <a:lnTo>
                    <a:pt x="205" y="836"/>
                  </a:lnTo>
                  <a:lnTo>
                    <a:pt x="193" y="834"/>
                  </a:lnTo>
                  <a:lnTo>
                    <a:pt x="182" y="832"/>
                  </a:lnTo>
                  <a:lnTo>
                    <a:pt x="172" y="827"/>
                  </a:lnTo>
                  <a:lnTo>
                    <a:pt x="163" y="820"/>
                  </a:lnTo>
                  <a:lnTo>
                    <a:pt x="108" y="765"/>
                  </a:lnTo>
                  <a:lnTo>
                    <a:pt x="101" y="757"/>
                  </a:lnTo>
                  <a:lnTo>
                    <a:pt x="95" y="747"/>
                  </a:lnTo>
                  <a:lnTo>
                    <a:pt x="92" y="735"/>
                  </a:lnTo>
                  <a:lnTo>
                    <a:pt x="91" y="724"/>
                  </a:lnTo>
                  <a:lnTo>
                    <a:pt x="92" y="712"/>
                  </a:lnTo>
                  <a:lnTo>
                    <a:pt x="95" y="702"/>
                  </a:lnTo>
                  <a:lnTo>
                    <a:pt x="101" y="692"/>
                  </a:lnTo>
                  <a:lnTo>
                    <a:pt x="108" y="683"/>
                  </a:lnTo>
                  <a:lnTo>
                    <a:pt x="160" y="631"/>
                  </a:lnTo>
                  <a:lnTo>
                    <a:pt x="150" y="616"/>
                  </a:lnTo>
                  <a:lnTo>
                    <a:pt x="143" y="597"/>
                  </a:lnTo>
                  <a:lnTo>
                    <a:pt x="136" y="580"/>
                  </a:lnTo>
                  <a:lnTo>
                    <a:pt x="130" y="561"/>
                  </a:lnTo>
                  <a:lnTo>
                    <a:pt x="58" y="561"/>
                  </a:lnTo>
                  <a:lnTo>
                    <a:pt x="46" y="559"/>
                  </a:lnTo>
                  <a:lnTo>
                    <a:pt x="36" y="556"/>
                  </a:lnTo>
                  <a:lnTo>
                    <a:pt x="26" y="551"/>
                  </a:lnTo>
                  <a:lnTo>
                    <a:pt x="18" y="543"/>
                  </a:lnTo>
                  <a:lnTo>
                    <a:pt x="10" y="535"/>
                  </a:lnTo>
                  <a:lnTo>
                    <a:pt x="5" y="526"/>
                  </a:lnTo>
                  <a:lnTo>
                    <a:pt x="2" y="515"/>
                  </a:lnTo>
                  <a:lnTo>
                    <a:pt x="0" y="503"/>
                  </a:lnTo>
                  <a:lnTo>
                    <a:pt x="0" y="425"/>
                  </a:lnTo>
                  <a:lnTo>
                    <a:pt x="2" y="414"/>
                  </a:lnTo>
                  <a:lnTo>
                    <a:pt x="5" y="404"/>
                  </a:lnTo>
                  <a:lnTo>
                    <a:pt x="10" y="394"/>
                  </a:lnTo>
                  <a:lnTo>
                    <a:pt x="18" y="385"/>
                  </a:lnTo>
                  <a:lnTo>
                    <a:pt x="26" y="378"/>
                  </a:lnTo>
                  <a:lnTo>
                    <a:pt x="36" y="372"/>
                  </a:lnTo>
                  <a:lnTo>
                    <a:pt x="46" y="369"/>
                  </a:lnTo>
                  <a:lnTo>
                    <a:pt x="58" y="368"/>
                  </a:lnTo>
                  <a:lnTo>
                    <a:pt x="130" y="368"/>
                  </a:lnTo>
                  <a:lnTo>
                    <a:pt x="136" y="349"/>
                  </a:lnTo>
                  <a:lnTo>
                    <a:pt x="143" y="332"/>
                  </a:lnTo>
                  <a:lnTo>
                    <a:pt x="150" y="314"/>
                  </a:lnTo>
                  <a:lnTo>
                    <a:pt x="160" y="297"/>
                  </a:lnTo>
                  <a:lnTo>
                    <a:pt x="108" y="245"/>
                  </a:lnTo>
                  <a:lnTo>
                    <a:pt x="101" y="237"/>
                  </a:lnTo>
                  <a:lnTo>
                    <a:pt x="95" y="227"/>
                  </a:lnTo>
                  <a:lnTo>
                    <a:pt x="92" y="217"/>
                  </a:lnTo>
                  <a:lnTo>
                    <a:pt x="91" y="205"/>
                  </a:lnTo>
                  <a:lnTo>
                    <a:pt x="92" y="193"/>
                  </a:lnTo>
                  <a:lnTo>
                    <a:pt x="95" y="183"/>
                  </a:lnTo>
                  <a:lnTo>
                    <a:pt x="101" y="173"/>
                  </a:lnTo>
                  <a:lnTo>
                    <a:pt x="108" y="163"/>
                  </a:lnTo>
                  <a:lnTo>
                    <a:pt x="163" y="110"/>
                  </a:lnTo>
                  <a:lnTo>
                    <a:pt x="172" y="103"/>
                  </a:lnTo>
                  <a:lnTo>
                    <a:pt x="182" y="97"/>
                  </a:lnTo>
                  <a:lnTo>
                    <a:pt x="193" y="94"/>
                  </a:lnTo>
                  <a:lnTo>
                    <a:pt x="205" y="93"/>
                  </a:lnTo>
                  <a:lnTo>
                    <a:pt x="215" y="94"/>
                  </a:lnTo>
                  <a:lnTo>
                    <a:pt x="226" y="97"/>
                  </a:lnTo>
                  <a:lnTo>
                    <a:pt x="236" y="103"/>
                  </a:lnTo>
                  <a:lnTo>
                    <a:pt x="245" y="110"/>
                  </a:lnTo>
                  <a:lnTo>
                    <a:pt x="295" y="160"/>
                  </a:lnTo>
                  <a:lnTo>
                    <a:pt x="313" y="152"/>
                  </a:lnTo>
                  <a:lnTo>
                    <a:pt x="330" y="143"/>
                  </a:lnTo>
                  <a:lnTo>
                    <a:pt x="349" y="136"/>
                  </a:lnTo>
                  <a:lnTo>
                    <a:pt x="367" y="130"/>
                  </a:lnTo>
                  <a:lnTo>
                    <a:pt x="367" y="58"/>
                  </a:lnTo>
                  <a:lnTo>
                    <a:pt x="369" y="47"/>
                  </a:lnTo>
                  <a:lnTo>
                    <a:pt x="372" y="36"/>
                  </a:lnTo>
                  <a:lnTo>
                    <a:pt x="378" y="26"/>
                  </a:lnTo>
                  <a:lnTo>
                    <a:pt x="383" y="18"/>
                  </a:lnTo>
                  <a:lnTo>
                    <a:pt x="392" y="11"/>
                  </a:lnTo>
                  <a:lnTo>
                    <a:pt x="402" y="5"/>
                  </a:lnTo>
                  <a:lnTo>
                    <a:pt x="414" y="2"/>
                  </a:lnTo>
                  <a:lnTo>
                    <a:pt x="425" y="0"/>
                  </a:lnTo>
                  <a:lnTo>
                    <a:pt x="503" y="0"/>
                  </a:lnTo>
                  <a:lnTo>
                    <a:pt x="514" y="2"/>
                  </a:lnTo>
                  <a:lnTo>
                    <a:pt x="524" y="5"/>
                  </a:lnTo>
                  <a:lnTo>
                    <a:pt x="534" y="11"/>
                  </a:lnTo>
                  <a:lnTo>
                    <a:pt x="543" y="18"/>
                  </a:lnTo>
                  <a:lnTo>
                    <a:pt x="550" y="26"/>
                  </a:lnTo>
                  <a:lnTo>
                    <a:pt x="556" y="36"/>
                  </a:lnTo>
                  <a:lnTo>
                    <a:pt x="559" y="47"/>
                  </a:lnTo>
                  <a:lnTo>
                    <a:pt x="560" y="58"/>
                  </a:lnTo>
                  <a:lnTo>
                    <a:pt x="560" y="130"/>
                  </a:lnTo>
                  <a:lnTo>
                    <a:pt x="579" y="137"/>
                  </a:lnTo>
                  <a:lnTo>
                    <a:pt x="596" y="143"/>
                  </a:lnTo>
                  <a:lnTo>
                    <a:pt x="614" y="152"/>
                  </a:lnTo>
                  <a:lnTo>
                    <a:pt x="631" y="160"/>
                  </a:lnTo>
                  <a:lnTo>
                    <a:pt x="681" y="110"/>
                  </a:lnTo>
                  <a:lnTo>
                    <a:pt x="691" y="103"/>
                  </a:lnTo>
                  <a:lnTo>
                    <a:pt x="702" y="97"/>
                  </a:lnTo>
                  <a:lnTo>
                    <a:pt x="712" y="94"/>
                  </a:lnTo>
                  <a:lnTo>
                    <a:pt x="723" y="93"/>
                  </a:lnTo>
                  <a:lnTo>
                    <a:pt x="735" y="94"/>
                  </a:lnTo>
                  <a:lnTo>
                    <a:pt x="745" y="97"/>
                  </a:lnTo>
                  <a:lnTo>
                    <a:pt x="755" y="103"/>
                  </a:lnTo>
                  <a:lnTo>
                    <a:pt x="763" y="110"/>
                  </a:lnTo>
                  <a:lnTo>
                    <a:pt x="818" y="163"/>
                  </a:lnTo>
                  <a:lnTo>
                    <a:pt x="825" y="173"/>
                  </a:lnTo>
                  <a:lnTo>
                    <a:pt x="831" y="182"/>
                  </a:lnTo>
                  <a:lnTo>
                    <a:pt x="834" y="193"/>
                  </a:lnTo>
                  <a:lnTo>
                    <a:pt x="835" y="205"/>
                  </a:lnTo>
                  <a:lnTo>
                    <a:pt x="834" y="217"/>
                  </a:lnTo>
                  <a:lnTo>
                    <a:pt x="831" y="227"/>
                  </a:lnTo>
                  <a:lnTo>
                    <a:pt x="825" y="237"/>
                  </a:lnTo>
                  <a:lnTo>
                    <a:pt x="818" y="245"/>
                  </a:lnTo>
                  <a:lnTo>
                    <a:pt x="768" y="297"/>
                  </a:lnTo>
                  <a:lnTo>
                    <a:pt x="776" y="314"/>
                  </a:lnTo>
                  <a:lnTo>
                    <a:pt x="785" y="332"/>
                  </a:lnTo>
                  <a:lnTo>
                    <a:pt x="791" y="349"/>
                  </a:lnTo>
                  <a:lnTo>
                    <a:pt x="797" y="368"/>
                  </a:lnTo>
                  <a:lnTo>
                    <a:pt x="869" y="368"/>
                  </a:lnTo>
                  <a:lnTo>
                    <a:pt x="880" y="369"/>
                  </a:lnTo>
                  <a:lnTo>
                    <a:pt x="892" y="372"/>
                  </a:lnTo>
                  <a:lnTo>
                    <a:pt x="902" y="378"/>
                  </a:lnTo>
                  <a:lnTo>
                    <a:pt x="910" y="385"/>
                  </a:lnTo>
                  <a:lnTo>
                    <a:pt x="918" y="394"/>
                  </a:lnTo>
                  <a:lnTo>
                    <a:pt x="922" y="404"/>
                  </a:lnTo>
                  <a:lnTo>
                    <a:pt x="926" y="414"/>
                  </a:lnTo>
                  <a:lnTo>
                    <a:pt x="928" y="425"/>
                  </a:lnTo>
                  <a:lnTo>
                    <a:pt x="928" y="503"/>
                  </a:lnTo>
                  <a:lnTo>
                    <a:pt x="926" y="515"/>
                  </a:lnTo>
                  <a:lnTo>
                    <a:pt x="923" y="525"/>
                  </a:lnTo>
                  <a:lnTo>
                    <a:pt x="918" y="535"/>
                  </a:lnTo>
                  <a:lnTo>
                    <a:pt x="910" y="543"/>
                  </a:lnTo>
                  <a:lnTo>
                    <a:pt x="902" y="551"/>
                  </a:lnTo>
                  <a:lnTo>
                    <a:pt x="892" y="556"/>
                  </a:lnTo>
                  <a:lnTo>
                    <a:pt x="880" y="559"/>
                  </a:lnTo>
                  <a:lnTo>
                    <a:pt x="869" y="561"/>
                  </a:lnTo>
                  <a:lnTo>
                    <a:pt x="797" y="561"/>
                  </a:lnTo>
                  <a:lnTo>
                    <a:pt x="791" y="580"/>
                  </a:lnTo>
                  <a:lnTo>
                    <a:pt x="785" y="597"/>
                  </a:lnTo>
                  <a:lnTo>
                    <a:pt x="776" y="616"/>
                  </a:lnTo>
                  <a:lnTo>
                    <a:pt x="768" y="631"/>
                  </a:lnTo>
                  <a:lnTo>
                    <a:pt x="818" y="683"/>
                  </a:lnTo>
                  <a:lnTo>
                    <a:pt x="825" y="692"/>
                  </a:lnTo>
                  <a:lnTo>
                    <a:pt x="831" y="702"/>
                  </a:lnTo>
                  <a:lnTo>
                    <a:pt x="834" y="713"/>
                  </a:lnTo>
                  <a:lnTo>
                    <a:pt x="835" y="724"/>
                  </a:lnTo>
                  <a:lnTo>
                    <a:pt x="834" y="735"/>
                  </a:lnTo>
                  <a:lnTo>
                    <a:pt x="831" y="745"/>
                  </a:lnTo>
                  <a:lnTo>
                    <a:pt x="825" y="755"/>
                  </a:lnTo>
                  <a:lnTo>
                    <a:pt x="818" y="765"/>
                  </a:lnTo>
                  <a:lnTo>
                    <a:pt x="763" y="820"/>
                  </a:lnTo>
                  <a:lnTo>
                    <a:pt x="755" y="827"/>
                  </a:lnTo>
                  <a:lnTo>
                    <a:pt x="745" y="832"/>
                  </a:lnTo>
                  <a:lnTo>
                    <a:pt x="735" y="834"/>
                  </a:lnTo>
                  <a:lnTo>
                    <a:pt x="723" y="836"/>
                  </a:lnTo>
                  <a:lnTo>
                    <a:pt x="712" y="834"/>
                  </a:lnTo>
                  <a:lnTo>
                    <a:pt x="702" y="832"/>
                  </a:lnTo>
                  <a:lnTo>
                    <a:pt x="691" y="827"/>
                  </a:lnTo>
                  <a:lnTo>
                    <a:pt x="681" y="820"/>
                  </a:lnTo>
                  <a:lnTo>
                    <a:pt x="631" y="768"/>
                  </a:lnTo>
                  <a:lnTo>
                    <a:pt x="614" y="777"/>
                  </a:lnTo>
                  <a:lnTo>
                    <a:pt x="596" y="785"/>
                  </a:lnTo>
                  <a:lnTo>
                    <a:pt x="579" y="793"/>
                  </a:lnTo>
                  <a:lnTo>
                    <a:pt x="560" y="798"/>
                  </a:lnTo>
                  <a:lnTo>
                    <a:pt x="560" y="870"/>
                  </a:lnTo>
                  <a:lnTo>
                    <a:pt x="559" y="882"/>
                  </a:lnTo>
                  <a:lnTo>
                    <a:pt x="556" y="892"/>
                  </a:lnTo>
                  <a:lnTo>
                    <a:pt x="550" y="902"/>
                  </a:lnTo>
                  <a:lnTo>
                    <a:pt x="543" y="911"/>
                  </a:lnTo>
                  <a:lnTo>
                    <a:pt x="534" y="918"/>
                  </a:lnTo>
                  <a:lnTo>
                    <a:pt x="524" y="924"/>
                  </a:lnTo>
                  <a:lnTo>
                    <a:pt x="514" y="927"/>
                  </a:lnTo>
                  <a:lnTo>
                    <a:pt x="503" y="928"/>
                  </a:lnTo>
                  <a:close/>
                </a:path>
              </a:pathLst>
            </a:custGeom>
            <a:grpFill/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24" name="Freeform 468"/>
            <p:cNvSpPr>
              <a:spLocks noEditPoints="1"/>
            </p:cNvSpPr>
            <p:nvPr/>
          </p:nvSpPr>
          <p:spPr bwMode="auto">
            <a:xfrm>
              <a:off x="5140870" y="3894917"/>
              <a:ext cx="187823" cy="186367"/>
            </a:xfrm>
            <a:custGeom>
              <a:avLst/>
              <a:gdLst>
                <a:gd name="T0" fmla="*/ 161 w 386"/>
                <a:gd name="T1" fmla="*/ 42 h 386"/>
                <a:gd name="T2" fmla="*/ 119 w 386"/>
                <a:gd name="T3" fmla="*/ 58 h 386"/>
                <a:gd name="T4" fmla="*/ 83 w 386"/>
                <a:gd name="T5" fmla="*/ 84 h 386"/>
                <a:gd name="T6" fmla="*/ 56 w 386"/>
                <a:gd name="T7" fmla="*/ 120 h 386"/>
                <a:gd name="T8" fmla="*/ 42 w 386"/>
                <a:gd name="T9" fmla="*/ 162 h 386"/>
                <a:gd name="T10" fmla="*/ 39 w 386"/>
                <a:gd name="T11" fmla="*/ 209 h 386"/>
                <a:gd name="T12" fmla="*/ 50 w 386"/>
                <a:gd name="T13" fmla="*/ 254 h 386"/>
                <a:gd name="T14" fmla="*/ 73 w 386"/>
                <a:gd name="T15" fmla="*/ 291 h 386"/>
                <a:gd name="T16" fmla="*/ 107 w 386"/>
                <a:gd name="T17" fmla="*/ 321 h 386"/>
                <a:gd name="T18" fmla="*/ 147 w 386"/>
                <a:gd name="T19" fmla="*/ 342 h 386"/>
                <a:gd name="T20" fmla="*/ 193 w 386"/>
                <a:gd name="T21" fmla="*/ 347 h 386"/>
                <a:gd name="T22" fmla="*/ 239 w 386"/>
                <a:gd name="T23" fmla="*/ 342 h 386"/>
                <a:gd name="T24" fmla="*/ 279 w 386"/>
                <a:gd name="T25" fmla="*/ 321 h 386"/>
                <a:gd name="T26" fmla="*/ 311 w 386"/>
                <a:gd name="T27" fmla="*/ 291 h 386"/>
                <a:gd name="T28" fmla="*/ 335 w 386"/>
                <a:gd name="T29" fmla="*/ 254 h 386"/>
                <a:gd name="T30" fmla="*/ 346 w 386"/>
                <a:gd name="T31" fmla="*/ 209 h 386"/>
                <a:gd name="T32" fmla="*/ 344 w 386"/>
                <a:gd name="T33" fmla="*/ 162 h 386"/>
                <a:gd name="T34" fmla="*/ 328 w 386"/>
                <a:gd name="T35" fmla="*/ 120 h 386"/>
                <a:gd name="T36" fmla="*/ 302 w 386"/>
                <a:gd name="T37" fmla="*/ 84 h 386"/>
                <a:gd name="T38" fmla="*/ 266 w 386"/>
                <a:gd name="T39" fmla="*/ 58 h 386"/>
                <a:gd name="T40" fmla="*/ 223 w 386"/>
                <a:gd name="T41" fmla="*/ 42 h 386"/>
                <a:gd name="T42" fmla="*/ 193 w 386"/>
                <a:gd name="T43" fmla="*/ 386 h 386"/>
                <a:gd name="T44" fmla="*/ 135 w 386"/>
                <a:gd name="T45" fmla="*/ 378 h 386"/>
                <a:gd name="T46" fmla="*/ 85 w 386"/>
                <a:gd name="T47" fmla="*/ 353 h 386"/>
                <a:gd name="T48" fmla="*/ 43 w 386"/>
                <a:gd name="T49" fmla="*/ 316 h 386"/>
                <a:gd name="T50" fmla="*/ 14 w 386"/>
                <a:gd name="T51" fmla="*/ 268 h 386"/>
                <a:gd name="T52" fmla="*/ 0 w 386"/>
                <a:gd name="T53" fmla="*/ 213 h 386"/>
                <a:gd name="T54" fmla="*/ 3 w 386"/>
                <a:gd name="T55" fmla="*/ 154 h 386"/>
                <a:gd name="T56" fmla="*/ 23 w 386"/>
                <a:gd name="T57" fmla="*/ 101 h 386"/>
                <a:gd name="T58" fmla="*/ 56 w 386"/>
                <a:gd name="T59" fmla="*/ 56 h 386"/>
                <a:gd name="T60" fmla="*/ 101 w 386"/>
                <a:gd name="T61" fmla="*/ 23 h 386"/>
                <a:gd name="T62" fmla="*/ 154 w 386"/>
                <a:gd name="T63" fmla="*/ 5 h 386"/>
                <a:gd name="T64" fmla="*/ 212 w 386"/>
                <a:gd name="T65" fmla="*/ 2 h 386"/>
                <a:gd name="T66" fmla="*/ 268 w 386"/>
                <a:gd name="T67" fmla="*/ 16 h 386"/>
                <a:gd name="T68" fmla="*/ 315 w 386"/>
                <a:gd name="T69" fmla="*/ 45 h 386"/>
                <a:gd name="T70" fmla="*/ 353 w 386"/>
                <a:gd name="T71" fmla="*/ 85 h 386"/>
                <a:gd name="T72" fmla="*/ 377 w 386"/>
                <a:gd name="T73" fmla="*/ 136 h 386"/>
                <a:gd name="T74" fmla="*/ 386 w 386"/>
                <a:gd name="T75" fmla="*/ 193 h 386"/>
                <a:gd name="T76" fmla="*/ 377 w 386"/>
                <a:gd name="T77" fmla="*/ 251 h 386"/>
                <a:gd name="T78" fmla="*/ 353 w 386"/>
                <a:gd name="T79" fmla="*/ 301 h 386"/>
                <a:gd name="T80" fmla="*/ 315 w 386"/>
                <a:gd name="T81" fmla="*/ 343 h 386"/>
                <a:gd name="T82" fmla="*/ 268 w 386"/>
                <a:gd name="T83" fmla="*/ 372 h 386"/>
                <a:gd name="T84" fmla="*/ 212 w 386"/>
                <a:gd name="T85" fmla="*/ 385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86" h="386">
                  <a:moveTo>
                    <a:pt x="193" y="39"/>
                  </a:moveTo>
                  <a:lnTo>
                    <a:pt x="177" y="39"/>
                  </a:lnTo>
                  <a:lnTo>
                    <a:pt x="161" y="42"/>
                  </a:lnTo>
                  <a:lnTo>
                    <a:pt x="147" y="46"/>
                  </a:lnTo>
                  <a:lnTo>
                    <a:pt x="132" y="51"/>
                  </a:lnTo>
                  <a:lnTo>
                    <a:pt x="119" y="58"/>
                  </a:lnTo>
                  <a:lnTo>
                    <a:pt x="107" y="65"/>
                  </a:lnTo>
                  <a:lnTo>
                    <a:pt x="95" y="74"/>
                  </a:lnTo>
                  <a:lnTo>
                    <a:pt x="83" y="84"/>
                  </a:lnTo>
                  <a:lnTo>
                    <a:pt x="73" y="95"/>
                  </a:lnTo>
                  <a:lnTo>
                    <a:pt x="65" y="107"/>
                  </a:lnTo>
                  <a:lnTo>
                    <a:pt x="56" y="120"/>
                  </a:lnTo>
                  <a:lnTo>
                    <a:pt x="50" y="133"/>
                  </a:lnTo>
                  <a:lnTo>
                    <a:pt x="45" y="147"/>
                  </a:lnTo>
                  <a:lnTo>
                    <a:pt x="42" y="162"/>
                  </a:lnTo>
                  <a:lnTo>
                    <a:pt x="39" y="177"/>
                  </a:lnTo>
                  <a:lnTo>
                    <a:pt x="37" y="193"/>
                  </a:lnTo>
                  <a:lnTo>
                    <a:pt x="39" y="209"/>
                  </a:lnTo>
                  <a:lnTo>
                    <a:pt x="42" y="225"/>
                  </a:lnTo>
                  <a:lnTo>
                    <a:pt x="45" y="239"/>
                  </a:lnTo>
                  <a:lnTo>
                    <a:pt x="50" y="254"/>
                  </a:lnTo>
                  <a:lnTo>
                    <a:pt x="56" y="267"/>
                  </a:lnTo>
                  <a:lnTo>
                    <a:pt x="65" y="280"/>
                  </a:lnTo>
                  <a:lnTo>
                    <a:pt x="73" y="291"/>
                  </a:lnTo>
                  <a:lnTo>
                    <a:pt x="83" y="303"/>
                  </a:lnTo>
                  <a:lnTo>
                    <a:pt x="95" y="313"/>
                  </a:lnTo>
                  <a:lnTo>
                    <a:pt x="107" y="321"/>
                  </a:lnTo>
                  <a:lnTo>
                    <a:pt x="119" y="329"/>
                  </a:lnTo>
                  <a:lnTo>
                    <a:pt x="132" y="336"/>
                  </a:lnTo>
                  <a:lnTo>
                    <a:pt x="147" y="342"/>
                  </a:lnTo>
                  <a:lnTo>
                    <a:pt x="161" y="345"/>
                  </a:lnTo>
                  <a:lnTo>
                    <a:pt x="177" y="347"/>
                  </a:lnTo>
                  <a:lnTo>
                    <a:pt x="193" y="347"/>
                  </a:lnTo>
                  <a:lnTo>
                    <a:pt x="209" y="347"/>
                  </a:lnTo>
                  <a:lnTo>
                    <a:pt x="223" y="345"/>
                  </a:lnTo>
                  <a:lnTo>
                    <a:pt x="239" y="342"/>
                  </a:lnTo>
                  <a:lnTo>
                    <a:pt x="252" y="336"/>
                  </a:lnTo>
                  <a:lnTo>
                    <a:pt x="266" y="329"/>
                  </a:lnTo>
                  <a:lnTo>
                    <a:pt x="279" y="321"/>
                  </a:lnTo>
                  <a:lnTo>
                    <a:pt x="291" y="313"/>
                  </a:lnTo>
                  <a:lnTo>
                    <a:pt x="302" y="303"/>
                  </a:lnTo>
                  <a:lnTo>
                    <a:pt x="311" y="291"/>
                  </a:lnTo>
                  <a:lnTo>
                    <a:pt x="321" y="280"/>
                  </a:lnTo>
                  <a:lnTo>
                    <a:pt x="328" y="267"/>
                  </a:lnTo>
                  <a:lnTo>
                    <a:pt x="335" y="254"/>
                  </a:lnTo>
                  <a:lnTo>
                    <a:pt x="340" y="239"/>
                  </a:lnTo>
                  <a:lnTo>
                    <a:pt x="344" y="225"/>
                  </a:lnTo>
                  <a:lnTo>
                    <a:pt x="346" y="209"/>
                  </a:lnTo>
                  <a:lnTo>
                    <a:pt x="347" y="193"/>
                  </a:lnTo>
                  <a:lnTo>
                    <a:pt x="346" y="177"/>
                  </a:lnTo>
                  <a:lnTo>
                    <a:pt x="344" y="162"/>
                  </a:lnTo>
                  <a:lnTo>
                    <a:pt x="340" y="147"/>
                  </a:lnTo>
                  <a:lnTo>
                    <a:pt x="335" y="133"/>
                  </a:lnTo>
                  <a:lnTo>
                    <a:pt x="328" y="120"/>
                  </a:lnTo>
                  <a:lnTo>
                    <a:pt x="321" y="107"/>
                  </a:lnTo>
                  <a:lnTo>
                    <a:pt x="311" y="95"/>
                  </a:lnTo>
                  <a:lnTo>
                    <a:pt x="302" y="84"/>
                  </a:lnTo>
                  <a:lnTo>
                    <a:pt x="291" y="74"/>
                  </a:lnTo>
                  <a:lnTo>
                    <a:pt x="279" y="65"/>
                  </a:lnTo>
                  <a:lnTo>
                    <a:pt x="266" y="58"/>
                  </a:lnTo>
                  <a:lnTo>
                    <a:pt x="252" y="51"/>
                  </a:lnTo>
                  <a:lnTo>
                    <a:pt x="239" y="46"/>
                  </a:lnTo>
                  <a:lnTo>
                    <a:pt x="223" y="42"/>
                  </a:lnTo>
                  <a:lnTo>
                    <a:pt x="209" y="39"/>
                  </a:lnTo>
                  <a:lnTo>
                    <a:pt x="193" y="39"/>
                  </a:lnTo>
                  <a:close/>
                  <a:moveTo>
                    <a:pt x="193" y="386"/>
                  </a:moveTo>
                  <a:lnTo>
                    <a:pt x="173" y="385"/>
                  </a:lnTo>
                  <a:lnTo>
                    <a:pt x="154" y="382"/>
                  </a:lnTo>
                  <a:lnTo>
                    <a:pt x="135" y="378"/>
                  </a:lnTo>
                  <a:lnTo>
                    <a:pt x="118" y="372"/>
                  </a:lnTo>
                  <a:lnTo>
                    <a:pt x="101" y="363"/>
                  </a:lnTo>
                  <a:lnTo>
                    <a:pt x="85" y="353"/>
                  </a:lnTo>
                  <a:lnTo>
                    <a:pt x="69" y="343"/>
                  </a:lnTo>
                  <a:lnTo>
                    <a:pt x="56" y="330"/>
                  </a:lnTo>
                  <a:lnTo>
                    <a:pt x="43" y="316"/>
                  </a:lnTo>
                  <a:lnTo>
                    <a:pt x="33" y="301"/>
                  </a:lnTo>
                  <a:lnTo>
                    <a:pt x="23" y="285"/>
                  </a:lnTo>
                  <a:lnTo>
                    <a:pt x="14" y="268"/>
                  </a:lnTo>
                  <a:lnTo>
                    <a:pt x="9" y="251"/>
                  </a:lnTo>
                  <a:lnTo>
                    <a:pt x="3" y="232"/>
                  </a:lnTo>
                  <a:lnTo>
                    <a:pt x="0" y="213"/>
                  </a:lnTo>
                  <a:lnTo>
                    <a:pt x="0" y="193"/>
                  </a:lnTo>
                  <a:lnTo>
                    <a:pt x="0" y="173"/>
                  </a:lnTo>
                  <a:lnTo>
                    <a:pt x="3" y="154"/>
                  </a:lnTo>
                  <a:lnTo>
                    <a:pt x="9" y="136"/>
                  </a:lnTo>
                  <a:lnTo>
                    <a:pt x="14" y="118"/>
                  </a:lnTo>
                  <a:lnTo>
                    <a:pt x="23" y="101"/>
                  </a:lnTo>
                  <a:lnTo>
                    <a:pt x="33" y="85"/>
                  </a:lnTo>
                  <a:lnTo>
                    <a:pt x="43" y="71"/>
                  </a:lnTo>
                  <a:lnTo>
                    <a:pt x="56" y="56"/>
                  </a:lnTo>
                  <a:lnTo>
                    <a:pt x="69" y="45"/>
                  </a:lnTo>
                  <a:lnTo>
                    <a:pt x="85" y="33"/>
                  </a:lnTo>
                  <a:lnTo>
                    <a:pt x="101" y="23"/>
                  </a:lnTo>
                  <a:lnTo>
                    <a:pt x="118" y="16"/>
                  </a:lnTo>
                  <a:lnTo>
                    <a:pt x="135" y="9"/>
                  </a:lnTo>
                  <a:lnTo>
                    <a:pt x="154" y="5"/>
                  </a:lnTo>
                  <a:lnTo>
                    <a:pt x="173" y="2"/>
                  </a:lnTo>
                  <a:lnTo>
                    <a:pt x="193" y="0"/>
                  </a:lnTo>
                  <a:lnTo>
                    <a:pt x="212" y="2"/>
                  </a:lnTo>
                  <a:lnTo>
                    <a:pt x="232" y="5"/>
                  </a:lnTo>
                  <a:lnTo>
                    <a:pt x="251" y="9"/>
                  </a:lnTo>
                  <a:lnTo>
                    <a:pt x="268" y="16"/>
                  </a:lnTo>
                  <a:lnTo>
                    <a:pt x="285" y="23"/>
                  </a:lnTo>
                  <a:lnTo>
                    <a:pt x="301" y="33"/>
                  </a:lnTo>
                  <a:lnTo>
                    <a:pt x="315" y="45"/>
                  </a:lnTo>
                  <a:lnTo>
                    <a:pt x="330" y="56"/>
                  </a:lnTo>
                  <a:lnTo>
                    <a:pt x="341" y="71"/>
                  </a:lnTo>
                  <a:lnTo>
                    <a:pt x="353" y="85"/>
                  </a:lnTo>
                  <a:lnTo>
                    <a:pt x="363" y="101"/>
                  </a:lnTo>
                  <a:lnTo>
                    <a:pt x="370" y="118"/>
                  </a:lnTo>
                  <a:lnTo>
                    <a:pt x="377" y="136"/>
                  </a:lnTo>
                  <a:lnTo>
                    <a:pt x="382" y="154"/>
                  </a:lnTo>
                  <a:lnTo>
                    <a:pt x="384" y="173"/>
                  </a:lnTo>
                  <a:lnTo>
                    <a:pt x="386" y="193"/>
                  </a:lnTo>
                  <a:lnTo>
                    <a:pt x="384" y="213"/>
                  </a:lnTo>
                  <a:lnTo>
                    <a:pt x="382" y="232"/>
                  </a:lnTo>
                  <a:lnTo>
                    <a:pt x="377" y="251"/>
                  </a:lnTo>
                  <a:lnTo>
                    <a:pt x="370" y="268"/>
                  </a:lnTo>
                  <a:lnTo>
                    <a:pt x="363" y="285"/>
                  </a:lnTo>
                  <a:lnTo>
                    <a:pt x="353" y="301"/>
                  </a:lnTo>
                  <a:lnTo>
                    <a:pt x="341" y="316"/>
                  </a:lnTo>
                  <a:lnTo>
                    <a:pt x="330" y="330"/>
                  </a:lnTo>
                  <a:lnTo>
                    <a:pt x="315" y="343"/>
                  </a:lnTo>
                  <a:lnTo>
                    <a:pt x="301" y="353"/>
                  </a:lnTo>
                  <a:lnTo>
                    <a:pt x="285" y="363"/>
                  </a:lnTo>
                  <a:lnTo>
                    <a:pt x="268" y="372"/>
                  </a:lnTo>
                  <a:lnTo>
                    <a:pt x="251" y="378"/>
                  </a:lnTo>
                  <a:lnTo>
                    <a:pt x="232" y="382"/>
                  </a:lnTo>
                  <a:lnTo>
                    <a:pt x="212" y="385"/>
                  </a:lnTo>
                  <a:lnTo>
                    <a:pt x="193" y="386"/>
                  </a:lnTo>
                  <a:close/>
                </a:path>
              </a:pathLst>
            </a:custGeom>
            <a:grpFill/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4218346" y="2943741"/>
            <a:ext cx="3681054" cy="58477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3200" spc="-151">
                <a:solidFill>
                  <a:schemeClr val="bg1"/>
                </a:solidFill>
                <a:latin typeface="Titillium" panose="00000500000000000000" pitchFamily="50" charset="0"/>
                <a:ea typeface="Roboto" panose="02000000000000000000" pitchFamily="2" charset="0"/>
                <a:cs typeface="Open Sans Semibold" panose="020B07060308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b="1" spc="600" dirty="0"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SOLUTIONS 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1388961" y="3428766"/>
            <a:ext cx="1367117" cy="1988534"/>
            <a:chOff x="3720306" y="3668315"/>
            <a:chExt cx="314325" cy="457200"/>
          </a:xfrm>
          <a:solidFill>
            <a:schemeClr val="bg1">
              <a:lumMod val="95000"/>
            </a:schemeClr>
          </a:solidFill>
        </p:grpSpPr>
        <p:sp>
          <p:nvSpPr>
            <p:cNvPr id="28" name="Freeform 114"/>
            <p:cNvSpPr>
              <a:spLocks noEditPoints="1"/>
            </p:cNvSpPr>
            <p:nvPr/>
          </p:nvSpPr>
          <p:spPr bwMode="auto">
            <a:xfrm>
              <a:off x="3720306" y="3668315"/>
              <a:ext cx="314325" cy="457200"/>
            </a:xfrm>
            <a:custGeom>
              <a:avLst/>
              <a:gdLst>
                <a:gd name="T0" fmla="*/ 184 w 793"/>
                <a:gd name="T1" fmla="*/ 669 h 1152"/>
                <a:gd name="T2" fmla="*/ 103 w 793"/>
                <a:gd name="T3" fmla="*/ 514 h 1152"/>
                <a:gd name="T4" fmla="*/ 78 w 793"/>
                <a:gd name="T5" fmla="*/ 439 h 1152"/>
                <a:gd name="T6" fmla="*/ 75 w 793"/>
                <a:gd name="T7" fmla="*/ 363 h 1152"/>
                <a:gd name="T8" fmla="*/ 92 w 793"/>
                <a:gd name="T9" fmla="*/ 284 h 1152"/>
                <a:gd name="T10" fmla="*/ 128 w 793"/>
                <a:gd name="T11" fmla="*/ 215 h 1152"/>
                <a:gd name="T12" fmla="*/ 180 w 793"/>
                <a:gd name="T13" fmla="*/ 156 h 1152"/>
                <a:gd name="T14" fmla="*/ 242 w 793"/>
                <a:gd name="T15" fmla="*/ 112 h 1152"/>
                <a:gd name="T16" fmla="*/ 316 w 793"/>
                <a:gd name="T17" fmla="*/ 82 h 1152"/>
                <a:gd name="T18" fmla="*/ 397 w 793"/>
                <a:gd name="T19" fmla="*/ 72 h 1152"/>
                <a:gd name="T20" fmla="*/ 478 w 793"/>
                <a:gd name="T21" fmla="*/ 82 h 1152"/>
                <a:gd name="T22" fmla="*/ 551 w 793"/>
                <a:gd name="T23" fmla="*/ 112 h 1152"/>
                <a:gd name="T24" fmla="*/ 615 w 793"/>
                <a:gd name="T25" fmla="*/ 156 h 1152"/>
                <a:gd name="T26" fmla="*/ 666 w 793"/>
                <a:gd name="T27" fmla="*/ 215 h 1152"/>
                <a:gd name="T28" fmla="*/ 701 w 793"/>
                <a:gd name="T29" fmla="*/ 284 h 1152"/>
                <a:gd name="T30" fmla="*/ 720 w 793"/>
                <a:gd name="T31" fmla="*/ 363 h 1152"/>
                <a:gd name="T32" fmla="*/ 717 w 793"/>
                <a:gd name="T33" fmla="*/ 438 h 1152"/>
                <a:gd name="T34" fmla="*/ 691 w 793"/>
                <a:gd name="T35" fmla="*/ 513 h 1152"/>
                <a:gd name="T36" fmla="*/ 610 w 793"/>
                <a:gd name="T37" fmla="*/ 669 h 1152"/>
                <a:gd name="T38" fmla="*/ 397 w 793"/>
                <a:gd name="T39" fmla="*/ 1080 h 1152"/>
                <a:gd name="T40" fmla="*/ 346 w 793"/>
                <a:gd name="T41" fmla="*/ 1067 h 1152"/>
                <a:gd name="T42" fmla="*/ 469 w 793"/>
                <a:gd name="T43" fmla="*/ 1036 h 1152"/>
                <a:gd name="T44" fmla="*/ 445 w 793"/>
                <a:gd name="T45" fmla="*/ 1071 h 1152"/>
                <a:gd name="T46" fmla="*/ 412 w 793"/>
                <a:gd name="T47" fmla="*/ 1079 h 1152"/>
                <a:gd name="T48" fmla="*/ 263 w 793"/>
                <a:gd name="T49" fmla="*/ 846 h 1152"/>
                <a:gd name="T50" fmla="*/ 528 w 793"/>
                <a:gd name="T51" fmla="*/ 857 h 1152"/>
                <a:gd name="T52" fmla="*/ 307 w 793"/>
                <a:gd name="T53" fmla="*/ 986 h 1152"/>
                <a:gd name="T54" fmla="*/ 290 w 793"/>
                <a:gd name="T55" fmla="*/ 931 h 1152"/>
                <a:gd name="T56" fmla="*/ 496 w 793"/>
                <a:gd name="T57" fmla="*/ 958 h 1152"/>
                <a:gd name="T58" fmla="*/ 376 w 793"/>
                <a:gd name="T59" fmla="*/ 0 h 1152"/>
                <a:gd name="T60" fmla="*/ 279 w 793"/>
                <a:gd name="T61" fmla="*/ 18 h 1152"/>
                <a:gd name="T62" fmla="*/ 192 w 793"/>
                <a:gd name="T63" fmla="*/ 58 h 1152"/>
                <a:gd name="T64" fmla="*/ 117 w 793"/>
                <a:gd name="T65" fmla="*/ 116 h 1152"/>
                <a:gd name="T66" fmla="*/ 59 w 793"/>
                <a:gd name="T67" fmla="*/ 190 h 1152"/>
                <a:gd name="T68" fmla="*/ 19 w 793"/>
                <a:gd name="T69" fmla="*/ 278 h 1152"/>
                <a:gd name="T70" fmla="*/ 2 w 793"/>
                <a:gd name="T71" fmla="*/ 375 h 1152"/>
                <a:gd name="T72" fmla="*/ 7 w 793"/>
                <a:gd name="T73" fmla="*/ 451 h 1152"/>
                <a:gd name="T74" fmla="*/ 59 w 793"/>
                <a:gd name="T75" fmla="*/ 589 h 1152"/>
                <a:gd name="T76" fmla="*/ 160 w 793"/>
                <a:gd name="T77" fmla="*/ 778 h 1152"/>
                <a:gd name="T78" fmla="*/ 234 w 793"/>
                <a:gd name="T79" fmla="*/ 994 h 1152"/>
                <a:gd name="T80" fmla="*/ 270 w 793"/>
                <a:gd name="T81" fmla="*/ 1086 h 1152"/>
                <a:gd name="T82" fmla="*/ 302 w 793"/>
                <a:gd name="T83" fmla="*/ 1125 h 1152"/>
                <a:gd name="T84" fmla="*/ 347 w 793"/>
                <a:gd name="T85" fmla="*/ 1146 h 1152"/>
                <a:gd name="T86" fmla="*/ 411 w 793"/>
                <a:gd name="T87" fmla="*/ 1152 h 1152"/>
                <a:gd name="T88" fmla="*/ 467 w 793"/>
                <a:gd name="T89" fmla="*/ 1140 h 1152"/>
                <a:gd name="T90" fmla="*/ 507 w 793"/>
                <a:gd name="T91" fmla="*/ 1111 h 1152"/>
                <a:gd name="T92" fmla="*/ 535 w 793"/>
                <a:gd name="T93" fmla="*/ 1066 h 1152"/>
                <a:gd name="T94" fmla="*/ 578 w 793"/>
                <a:gd name="T95" fmla="*/ 935 h 1152"/>
                <a:gd name="T96" fmla="*/ 633 w 793"/>
                <a:gd name="T97" fmla="*/ 779 h 1152"/>
                <a:gd name="T98" fmla="*/ 735 w 793"/>
                <a:gd name="T99" fmla="*/ 589 h 1152"/>
                <a:gd name="T100" fmla="*/ 787 w 793"/>
                <a:gd name="T101" fmla="*/ 451 h 1152"/>
                <a:gd name="T102" fmla="*/ 792 w 793"/>
                <a:gd name="T103" fmla="*/ 375 h 1152"/>
                <a:gd name="T104" fmla="*/ 775 w 793"/>
                <a:gd name="T105" fmla="*/ 278 h 1152"/>
                <a:gd name="T106" fmla="*/ 736 w 793"/>
                <a:gd name="T107" fmla="*/ 190 h 1152"/>
                <a:gd name="T108" fmla="*/ 677 w 793"/>
                <a:gd name="T109" fmla="*/ 116 h 1152"/>
                <a:gd name="T110" fmla="*/ 602 w 793"/>
                <a:gd name="T111" fmla="*/ 58 h 1152"/>
                <a:gd name="T112" fmla="*/ 515 w 793"/>
                <a:gd name="T113" fmla="*/ 18 h 1152"/>
                <a:gd name="T114" fmla="*/ 417 w 793"/>
                <a:gd name="T115" fmla="*/ 0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93" h="1152">
                  <a:moveTo>
                    <a:pt x="565" y="756"/>
                  </a:moveTo>
                  <a:lnTo>
                    <a:pt x="229" y="756"/>
                  </a:lnTo>
                  <a:lnTo>
                    <a:pt x="215" y="727"/>
                  </a:lnTo>
                  <a:lnTo>
                    <a:pt x="200" y="698"/>
                  </a:lnTo>
                  <a:lnTo>
                    <a:pt x="184" y="669"/>
                  </a:lnTo>
                  <a:lnTo>
                    <a:pt x="169" y="640"/>
                  </a:lnTo>
                  <a:lnTo>
                    <a:pt x="151" y="608"/>
                  </a:lnTo>
                  <a:lnTo>
                    <a:pt x="133" y="577"/>
                  </a:lnTo>
                  <a:lnTo>
                    <a:pt x="117" y="545"/>
                  </a:lnTo>
                  <a:lnTo>
                    <a:pt x="103" y="514"/>
                  </a:lnTo>
                  <a:lnTo>
                    <a:pt x="97" y="498"/>
                  </a:lnTo>
                  <a:lnTo>
                    <a:pt x="91" y="483"/>
                  </a:lnTo>
                  <a:lnTo>
                    <a:pt x="86" y="468"/>
                  </a:lnTo>
                  <a:lnTo>
                    <a:pt x="81" y="453"/>
                  </a:lnTo>
                  <a:lnTo>
                    <a:pt x="78" y="439"/>
                  </a:lnTo>
                  <a:lnTo>
                    <a:pt x="75" y="424"/>
                  </a:lnTo>
                  <a:lnTo>
                    <a:pt x="74" y="410"/>
                  </a:lnTo>
                  <a:lnTo>
                    <a:pt x="73" y="396"/>
                  </a:lnTo>
                  <a:lnTo>
                    <a:pt x="74" y="379"/>
                  </a:lnTo>
                  <a:lnTo>
                    <a:pt x="75" y="363"/>
                  </a:lnTo>
                  <a:lnTo>
                    <a:pt x="77" y="347"/>
                  </a:lnTo>
                  <a:lnTo>
                    <a:pt x="79" y="331"/>
                  </a:lnTo>
                  <a:lnTo>
                    <a:pt x="84" y="315"/>
                  </a:lnTo>
                  <a:lnTo>
                    <a:pt x="88" y="300"/>
                  </a:lnTo>
                  <a:lnTo>
                    <a:pt x="92" y="284"/>
                  </a:lnTo>
                  <a:lnTo>
                    <a:pt x="99" y="270"/>
                  </a:lnTo>
                  <a:lnTo>
                    <a:pt x="105" y="255"/>
                  </a:lnTo>
                  <a:lnTo>
                    <a:pt x="112" y="241"/>
                  </a:lnTo>
                  <a:lnTo>
                    <a:pt x="120" y="228"/>
                  </a:lnTo>
                  <a:lnTo>
                    <a:pt x="128" y="215"/>
                  </a:lnTo>
                  <a:lnTo>
                    <a:pt x="138" y="202"/>
                  </a:lnTo>
                  <a:lnTo>
                    <a:pt x="147" y="190"/>
                  </a:lnTo>
                  <a:lnTo>
                    <a:pt x="157" y="179"/>
                  </a:lnTo>
                  <a:lnTo>
                    <a:pt x="168" y="167"/>
                  </a:lnTo>
                  <a:lnTo>
                    <a:pt x="180" y="156"/>
                  </a:lnTo>
                  <a:lnTo>
                    <a:pt x="191" y="146"/>
                  </a:lnTo>
                  <a:lnTo>
                    <a:pt x="204" y="136"/>
                  </a:lnTo>
                  <a:lnTo>
                    <a:pt x="216" y="128"/>
                  </a:lnTo>
                  <a:lnTo>
                    <a:pt x="229" y="119"/>
                  </a:lnTo>
                  <a:lnTo>
                    <a:pt x="242" y="112"/>
                  </a:lnTo>
                  <a:lnTo>
                    <a:pt x="256" y="104"/>
                  </a:lnTo>
                  <a:lnTo>
                    <a:pt x="270" y="98"/>
                  </a:lnTo>
                  <a:lnTo>
                    <a:pt x="286" y="91"/>
                  </a:lnTo>
                  <a:lnTo>
                    <a:pt x="301" y="87"/>
                  </a:lnTo>
                  <a:lnTo>
                    <a:pt x="316" y="82"/>
                  </a:lnTo>
                  <a:lnTo>
                    <a:pt x="332" y="78"/>
                  </a:lnTo>
                  <a:lnTo>
                    <a:pt x="348" y="76"/>
                  </a:lnTo>
                  <a:lnTo>
                    <a:pt x="364" y="74"/>
                  </a:lnTo>
                  <a:lnTo>
                    <a:pt x="381" y="73"/>
                  </a:lnTo>
                  <a:lnTo>
                    <a:pt x="397" y="72"/>
                  </a:lnTo>
                  <a:lnTo>
                    <a:pt x="414" y="73"/>
                  </a:lnTo>
                  <a:lnTo>
                    <a:pt x="430" y="74"/>
                  </a:lnTo>
                  <a:lnTo>
                    <a:pt x="447" y="76"/>
                  </a:lnTo>
                  <a:lnTo>
                    <a:pt x="463" y="78"/>
                  </a:lnTo>
                  <a:lnTo>
                    <a:pt x="478" y="82"/>
                  </a:lnTo>
                  <a:lnTo>
                    <a:pt x="493" y="87"/>
                  </a:lnTo>
                  <a:lnTo>
                    <a:pt x="508" y="91"/>
                  </a:lnTo>
                  <a:lnTo>
                    <a:pt x="523" y="98"/>
                  </a:lnTo>
                  <a:lnTo>
                    <a:pt x="537" y="104"/>
                  </a:lnTo>
                  <a:lnTo>
                    <a:pt x="551" y="112"/>
                  </a:lnTo>
                  <a:lnTo>
                    <a:pt x="565" y="119"/>
                  </a:lnTo>
                  <a:lnTo>
                    <a:pt x="578" y="128"/>
                  </a:lnTo>
                  <a:lnTo>
                    <a:pt x="591" y="136"/>
                  </a:lnTo>
                  <a:lnTo>
                    <a:pt x="603" y="146"/>
                  </a:lnTo>
                  <a:lnTo>
                    <a:pt x="615" y="156"/>
                  </a:lnTo>
                  <a:lnTo>
                    <a:pt x="626" y="167"/>
                  </a:lnTo>
                  <a:lnTo>
                    <a:pt x="637" y="179"/>
                  </a:lnTo>
                  <a:lnTo>
                    <a:pt x="647" y="190"/>
                  </a:lnTo>
                  <a:lnTo>
                    <a:pt x="656" y="202"/>
                  </a:lnTo>
                  <a:lnTo>
                    <a:pt x="666" y="215"/>
                  </a:lnTo>
                  <a:lnTo>
                    <a:pt x="674" y="228"/>
                  </a:lnTo>
                  <a:lnTo>
                    <a:pt x="682" y="241"/>
                  </a:lnTo>
                  <a:lnTo>
                    <a:pt x="688" y="255"/>
                  </a:lnTo>
                  <a:lnTo>
                    <a:pt x="696" y="270"/>
                  </a:lnTo>
                  <a:lnTo>
                    <a:pt x="701" y="284"/>
                  </a:lnTo>
                  <a:lnTo>
                    <a:pt x="707" y="300"/>
                  </a:lnTo>
                  <a:lnTo>
                    <a:pt x="711" y="315"/>
                  </a:lnTo>
                  <a:lnTo>
                    <a:pt x="714" y="331"/>
                  </a:lnTo>
                  <a:lnTo>
                    <a:pt x="718" y="347"/>
                  </a:lnTo>
                  <a:lnTo>
                    <a:pt x="720" y="363"/>
                  </a:lnTo>
                  <a:lnTo>
                    <a:pt x="721" y="379"/>
                  </a:lnTo>
                  <a:lnTo>
                    <a:pt x="721" y="396"/>
                  </a:lnTo>
                  <a:lnTo>
                    <a:pt x="721" y="410"/>
                  </a:lnTo>
                  <a:lnTo>
                    <a:pt x="719" y="424"/>
                  </a:lnTo>
                  <a:lnTo>
                    <a:pt x="717" y="438"/>
                  </a:lnTo>
                  <a:lnTo>
                    <a:pt x="712" y="453"/>
                  </a:lnTo>
                  <a:lnTo>
                    <a:pt x="708" y="468"/>
                  </a:lnTo>
                  <a:lnTo>
                    <a:pt x="704" y="483"/>
                  </a:lnTo>
                  <a:lnTo>
                    <a:pt x="697" y="498"/>
                  </a:lnTo>
                  <a:lnTo>
                    <a:pt x="691" y="513"/>
                  </a:lnTo>
                  <a:lnTo>
                    <a:pt x="677" y="545"/>
                  </a:lnTo>
                  <a:lnTo>
                    <a:pt x="660" y="577"/>
                  </a:lnTo>
                  <a:lnTo>
                    <a:pt x="643" y="608"/>
                  </a:lnTo>
                  <a:lnTo>
                    <a:pt x="626" y="641"/>
                  </a:lnTo>
                  <a:lnTo>
                    <a:pt x="610" y="669"/>
                  </a:lnTo>
                  <a:lnTo>
                    <a:pt x="594" y="698"/>
                  </a:lnTo>
                  <a:lnTo>
                    <a:pt x="579" y="727"/>
                  </a:lnTo>
                  <a:lnTo>
                    <a:pt x="565" y="756"/>
                  </a:lnTo>
                  <a:lnTo>
                    <a:pt x="565" y="756"/>
                  </a:lnTo>
                  <a:close/>
                  <a:moveTo>
                    <a:pt x="397" y="1080"/>
                  </a:moveTo>
                  <a:lnTo>
                    <a:pt x="384" y="1079"/>
                  </a:lnTo>
                  <a:lnTo>
                    <a:pt x="373" y="1078"/>
                  </a:lnTo>
                  <a:lnTo>
                    <a:pt x="363" y="1076"/>
                  </a:lnTo>
                  <a:lnTo>
                    <a:pt x="355" y="1073"/>
                  </a:lnTo>
                  <a:lnTo>
                    <a:pt x="346" y="1067"/>
                  </a:lnTo>
                  <a:lnTo>
                    <a:pt x="339" y="1059"/>
                  </a:lnTo>
                  <a:lnTo>
                    <a:pt x="332" y="1049"/>
                  </a:lnTo>
                  <a:lnTo>
                    <a:pt x="326" y="1035"/>
                  </a:lnTo>
                  <a:lnTo>
                    <a:pt x="478" y="1016"/>
                  </a:lnTo>
                  <a:lnTo>
                    <a:pt x="469" y="1036"/>
                  </a:lnTo>
                  <a:lnTo>
                    <a:pt x="462" y="1051"/>
                  </a:lnTo>
                  <a:lnTo>
                    <a:pt x="457" y="1057"/>
                  </a:lnTo>
                  <a:lnTo>
                    <a:pt x="454" y="1062"/>
                  </a:lnTo>
                  <a:lnTo>
                    <a:pt x="450" y="1066"/>
                  </a:lnTo>
                  <a:lnTo>
                    <a:pt x="445" y="1071"/>
                  </a:lnTo>
                  <a:lnTo>
                    <a:pt x="440" y="1073"/>
                  </a:lnTo>
                  <a:lnTo>
                    <a:pt x="436" y="1075"/>
                  </a:lnTo>
                  <a:lnTo>
                    <a:pt x="430" y="1077"/>
                  </a:lnTo>
                  <a:lnTo>
                    <a:pt x="425" y="1078"/>
                  </a:lnTo>
                  <a:lnTo>
                    <a:pt x="412" y="1079"/>
                  </a:lnTo>
                  <a:lnTo>
                    <a:pt x="397" y="1080"/>
                  </a:lnTo>
                  <a:close/>
                  <a:moveTo>
                    <a:pt x="279" y="897"/>
                  </a:moveTo>
                  <a:lnTo>
                    <a:pt x="275" y="881"/>
                  </a:lnTo>
                  <a:lnTo>
                    <a:pt x="269" y="863"/>
                  </a:lnTo>
                  <a:lnTo>
                    <a:pt x="263" y="846"/>
                  </a:lnTo>
                  <a:lnTo>
                    <a:pt x="258" y="828"/>
                  </a:lnTo>
                  <a:lnTo>
                    <a:pt x="537" y="828"/>
                  </a:lnTo>
                  <a:lnTo>
                    <a:pt x="534" y="837"/>
                  </a:lnTo>
                  <a:lnTo>
                    <a:pt x="531" y="847"/>
                  </a:lnTo>
                  <a:lnTo>
                    <a:pt x="528" y="857"/>
                  </a:lnTo>
                  <a:lnTo>
                    <a:pt x="524" y="867"/>
                  </a:lnTo>
                  <a:lnTo>
                    <a:pt x="279" y="897"/>
                  </a:lnTo>
                  <a:close/>
                  <a:moveTo>
                    <a:pt x="491" y="978"/>
                  </a:moveTo>
                  <a:lnTo>
                    <a:pt x="312" y="1000"/>
                  </a:lnTo>
                  <a:lnTo>
                    <a:pt x="307" y="986"/>
                  </a:lnTo>
                  <a:lnTo>
                    <a:pt x="302" y="970"/>
                  </a:lnTo>
                  <a:lnTo>
                    <a:pt x="296" y="952"/>
                  </a:lnTo>
                  <a:lnTo>
                    <a:pt x="290" y="932"/>
                  </a:lnTo>
                  <a:lnTo>
                    <a:pt x="290" y="931"/>
                  </a:lnTo>
                  <a:lnTo>
                    <a:pt x="290" y="931"/>
                  </a:lnTo>
                  <a:lnTo>
                    <a:pt x="512" y="903"/>
                  </a:lnTo>
                  <a:lnTo>
                    <a:pt x="508" y="919"/>
                  </a:lnTo>
                  <a:lnTo>
                    <a:pt x="504" y="936"/>
                  </a:lnTo>
                  <a:lnTo>
                    <a:pt x="499" y="946"/>
                  </a:lnTo>
                  <a:lnTo>
                    <a:pt x="496" y="958"/>
                  </a:lnTo>
                  <a:lnTo>
                    <a:pt x="493" y="968"/>
                  </a:lnTo>
                  <a:lnTo>
                    <a:pt x="491" y="978"/>
                  </a:lnTo>
                  <a:lnTo>
                    <a:pt x="491" y="978"/>
                  </a:lnTo>
                  <a:close/>
                  <a:moveTo>
                    <a:pt x="397" y="0"/>
                  </a:moveTo>
                  <a:lnTo>
                    <a:pt x="376" y="0"/>
                  </a:lnTo>
                  <a:lnTo>
                    <a:pt x="357" y="1"/>
                  </a:lnTo>
                  <a:lnTo>
                    <a:pt x="336" y="5"/>
                  </a:lnTo>
                  <a:lnTo>
                    <a:pt x="317" y="8"/>
                  </a:lnTo>
                  <a:lnTo>
                    <a:pt x="299" y="12"/>
                  </a:lnTo>
                  <a:lnTo>
                    <a:pt x="279" y="18"/>
                  </a:lnTo>
                  <a:lnTo>
                    <a:pt x="261" y="24"/>
                  </a:lnTo>
                  <a:lnTo>
                    <a:pt x="242" y="31"/>
                  </a:lnTo>
                  <a:lnTo>
                    <a:pt x="225" y="39"/>
                  </a:lnTo>
                  <a:lnTo>
                    <a:pt x="208" y="48"/>
                  </a:lnTo>
                  <a:lnTo>
                    <a:pt x="192" y="58"/>
                  </a:lnTo>
                  <a:lnTo>
                    <a:pt x="175" y="67"/>
                  </a:lnTo>
                  <a:lnTo>
                    <a:pt x="160" y="78"/>
                  </a:lnTo>
                  <a:lnTo>
                    <a:pt x="145" y="90"/>
                  </a:lnTo>
                  <a:lnTo>
                    <a:pt x="131" y="103"/>
                  </a:lnTo>
                  <a:lnTo>
                    <a:pt x="117" y="116"/>
                  </a:lnTo>
                  <a:lnTo>
                    <a:pt x="104" y="130"/>
                  </a:lnTo>
                  <a:lnTo>
                    <a:pt x="91" y="144"/>
                  </a:lnTo>
                  <a:lnTo>
                    <a:pt x="79" y="159"/>
                  </a:lnTo>
                  <a:lnTo>
                    <a:pt x="69" y="174"/>
                  </a:lnTo>
                  <a:lnTo>
                    <a:pt x="59" y="190"/>
                  </a:lnTo>
                  <a:lnTo>
                    <a:pt x="49" y="207"/>
                  </a:lnTo>
                  <a:lnTo>
                    <a:pt x="40" y="224"/>
                  </a:lnTo>
                  <a:lnTo>
                    <a:pt x="32" y="242"/>
                  </a:lnTo>
                  <a:lnTo>
                    <a:pt x="25" y="260"/>
                  </a:lnTo>
                  <a:lnTo>
                    <a:pt x="19" y="278"/>
                  </a:lnTo>
                  <a:lnTo>
                    <a:pt x="13" y="297"/>
                  </a:lnTo>
                  <a:lnTo>
                    <a:pt x="9" y="316"/>
                  </a:lnTo>
                  <a:lnTo>
                    <a:pt x="6" y="335"/>
                  </a:lnTo>
                  <a:lnTo>
                    <a:pt x="3" y="356"/>
                  </a:lnTo>
                  <a:lnTo>
                    <a:pt x="2" y="375"/>
                  </a:lnTo>
                  <a:lnTo>
                    <a:pt x="0" y="396"/>
                  </a:lnTo>
                  <a:lnTo>
                    <a:pt x="2" y="410"/>
                  </a:lnTo>
                  <a:lnTo>
                    <a:pt x="3" y="424"/>
                  </a:lnTo>
                  <a:lnTo>
                    <a:pt x="5" y="437"/>
                  </a:lnTo>
                  <a:lnTo>
                    <a:pt x="7" y="451"/>
                  </a:lnTo>
                  <a:lnTo>
                    <a:pt x="13" y="479"/>
                  </a:lnTo>
                  <a:lnTo>
                    <a:pt x="22" y="506"/>
                  </a:lnTo>
                  <a:lnTo>
                    <a:pt x="33" y="534"/>
                  </a:lnTo>
                  <a:lnTo>
                    <a:pt x="46" y="561"/>
                  </a:lnTo>
                  <a:lnTo>
                    <a:pt x="59" y="589"/>
                  </a:lnTo>
                  <a:lnTo>
                    <a:pt x="74" y="617"/>
                  </a:lnTo>
                  <a:lnTo>
                    <a:pt x="103" y="671"/>
                  </a:lnTo>
                  <a:lnTo>
                    <a:pt x="133" y="725"/>
                  </a:lnTo>
                  <a:lnTo>
                    <a:pt x="147" y="752"/>
                  </a:lnTo>
                  <a:lnTo>
                    <a:pt x="160" y="778"/>
                  </a:lnTo>
                  <a:lnTo>
                    <a:pt x="172" y="804"/>
                  </a:lnTo>
                  <a:lnTo>
                    <a:pt x="182" y="830"/>
                  </a:lnTo>
                  <a:lnTo>
                    <a:pt x="206" y="901"/>
                  </a:lnTo>
                  <a:lnTo>
                    <a:pt x="225" y="965"/>
                  </a:lnTo>
                  <a:lnTo>
                    <a:pt x="234" y="994"/>
                  </a:lnTo>
                  <a:lnTo>
                    <a:pt x="242" y="1020"/>
                  </a:lnTo>
                  <a:lnTo>
                    <a:pt x="251" y="1045"/>
                  </a:lnTo>
                  <a:lnTo>
                    <a:pt x="260" y="1066"/>
                  </a:lnTo>
                  <a:lnTo>
                    <a:pt x="265" y="1076"/>
                  </a:lnTo>
                  <a:lnTo>
                    <a:pt x="270" y="1086"/>
                  </a:lnTo>
                  <a:lnTo>
                    <a:pt x="276" y="1094"/>
                  </a:lnTo>
                  <a:lnTo>
                    <a:pt x="281" y="1103"/>
                  </a:lnTo>
                  <a:lnTo>
                    <a:pt x="288" y="1111"/>
                  </a:lnTo>
                  <a:lnTo>
                    <a:pt x="295" y="1118"/>
                  </a:lnTo>
                  <a:lnTo>
                    <a:pt x="302" y="1125"/>
                  </a:lnTo>
                  <a:lnTo>
                    <a:pt x="310" y="1130"/>
                  </a:lnTo>
                  <a:lnTo>
                    <a:pt x="318" y="1135"/>
                  </a:lnTo>
                  <a:lnTo>
                    <a:pt x="328" y="1140"/>
                  </a:lnTo>
                  <a:lnTo>
                    <a:pt x="337" y="1143"/>
                  </a:lnTo>
                  <a:lnTo>
                    <a:pt x="347" y="1146"/>
                  </a:lnTo>
                  <a:lnTo>
                    <a:pt x="359" y="1148"/>
                  </a:lnTo>
                  <a:lnTo>
                    <a:pt x="371" y="1151"/>
                  </a:lnTo>
                  <a:lnTo>
                    <a:pt x="383" y="1152"/>
                  </a:lnTo>
                  <a:lnTo>
                    <a:pt x="397" y="1152"/>
                  </a:lnTo>
                  <a:lnTo>
                    <a:pt x="411" y="1152"/>
                  </a:lnTo>
                  <a:lnTo>
                    <a:pt x="424" y="1151"/>
                  </a:lnTo>
                  <a:lnTo>
                    <a:pt x="436" y="1148"/>
                  </a:lnTo>
                  <a:lnTo>
                    <a:pt x="448" y="1146"/>
                  </a:lnTo>
                  <a:lnTo>
                    <a:pt x="457" y="1143"/>
                  </a:lnTo>
                  <a:lnTo>
                    <a:pt x="467" y="1140"/>
                  </a:lnTo>
                  <a:lnTo>
                    <a:pt x="477" y="1135"/>
                  </a:lnTo>
                  <a:lnTo>
                    <a:pt x="485" y="1130"/>
                  </a:lnTo>
                  <a:lnTo>
                    <a:pt x="493" y="1125"/>
                  </a:lnTo>
                  <a:lnTo>
                    <a:pt x="501" y="1118"/>
                  </a:lnTo>
                  <a:lnTo>
                    <a:pt x="507" y="1111"/>
                  </a:lnTo>
                  <a:lnTo>
                    <a:pt x="513" y="1103"/>
                  </a:lnTo>
                  <a:lnTo>
                    <a:pt x="519" y="1095"/>
                  </a:lnTo>
                  <a:lnTo>
                    <a:pt x="524" y="1086"/>
                  </a:lnTo>
                  <a:lnTo>
                    <a:pt x="530" y="1077"/>
                  </a:lnTo>
                  <a:lnTo>
                    <a:pt x="535" y="1066"/>
                  </a:lnTo>
                  <a:lnTo>
                    <a:pt x="544" y="1045"/>
                  </a:lnTo>
                  <a:lnTo>
                    <a:pt x="552" y="1021"/>
                  </a:lnTo>
                  <a:lnTo>
                    <a:pt x="561" y="994"/>
                  </a:lnTo>
                  <a:lnTo>
                    <a:pt x="570" y="966"/>
                  </a:lnTo>
                  <a:lnTo>
                    <a:pt x="578" y="935"/>
                  </a:lnTo>
                  <a:lnTo>
                    <a:pt x="588" y="902"/>
                  </a:lnTo>
                  <a:lnTo>
                    <a:pt x="599" y="868"/>
                  </a:lnTo>
                  <a:lnTo>
                    <a:pt x="612" y="831"/>
                  </a:lnTo>
                  <a:lnTo>
                    <a:pt x="621" y="805"/>
                  </a:lnTo>
                  <a:lnTo>
                    <a:pt x="633" y="779"/>
                  </a:lnTo>
                  <a:lnTo>
                    <a:pt x="646" y="753"/>
                  </a:lnTo>
                  <a:lnTo>
                    <a:pt x="660" y="726"/>
                  </a:lnTo>
                  <a:lnTo>
                    <a:pt x="691" y="672"/>
                  </a:lnTo>
                  <a:lnTo>
                    <a:pt x="721" y="617"/>
                  </a:lnTo>
                  <a:lnTo>
                    <a:pt x="735" y="589"/>
                  </a:lnTo>
                  <a:lnTo>
                    <a:pt x="749" y="561"/>
                  </a:lnTo>
                  <a:lnTo>
                    <a:pt x="761" y="533"/>
                  </a:lnTo>
                  <a:lnTo>
                    <a:pt x="772" y="506"/>
                  </a:lnTo>
                  <a:lnTo>
                    <a:pt x="780" y="478"/>
                  </a:lnTo>
                  <a:lnTo>
                    <a:pt x="787" y="451"/>
                  </a:lnTo>
                  <a:lnTo>
                    <a:pt x="790" y="437"/>
                  </a:lnTo>
                  <a:lnTo>
                    <a:pt x="791" y="423"/>
                  </a:lnTo>
                  <a:lnTo>
                    <a:pt x="792" y="410"/>
                  </a:lnTo>
                  <a:lnTo>
                    <a:pt x="793" y="396"/>
                  </a:lnTo>
                  <a:lnTo>
                    <a:pt x="792" y="375"/>
                  </a:lnTo>
                  <a:lnTo>
                    <a:pt x="791" y="356"/>
                  </a:lnTo>
                  <a:lnTo>
                    <a:pt x="789" y="335"/>
                  </a:lnTo>
                  <a:lnTo>
                    <a:pt x="785" y="316"/>
                  </a:lnTo>
                  <a:lnTo>
                    <a:pt x="780" y="297"/>
                  </a:lnTo>
                  <a:lnTo>
                    <a:pt x="775" y="278"/>
                  </a:lnTo>
                  <a:lnTo>
                    <a:pt x="769" y="260"/>
                  </a:lnTo>
                  <a:lnTo>
                    <a:pt x="762" y="242"/>
                  </a:lnTo>
                  <a:lnTo>
                    <a:pt x="754" y="224"/>
                  </a:lnTo>
                  <a:lnTo>
                    <a:pt x="746" y="207"/>
                  </a:lnTo>
                  <a:lnTo>
                    <a:pt x="736" y="190"/>
                  </a:lnTo>
                  <a:lnTo>
                    <a:pt x="725" y="174"/>
                  </a:lnTo>
                  <a:lnTo>
                    <a:pt x="714" y="159"/>
                  </a:lnTo>
                  <a:lnTo>
                    <a:pt x="703" y="144"/>
                  </a:lnTo>
                  <a:lnTo>
                    <a:pt x="691" y="130"/>
                  </a:lnTo>
                  <a:lnTo>
                    <a:pt x="677" y="116"/>
                  </a:lnTo>
                  <a:lnTo>
                    <a:pt x="664" y="103"/>
                  </a:lnTo>
                  <a:lnTo>
                    <a:pt x="648" y="90"/>
                  </a:lnTo>
                  <a:lnTo>
                    <a:pt x="633" y="78"/>
                  </a:lnTo>
                  <a:lnTo>
                    <a:pt x="618" y="67"/>
                  </a:lnTo>
                  <a:lnTo>
                    <a:pt x="602" y="58"/>
                  </a:lnTo>
                  <a:lnTo>
                    <a:pt x="586" y="48"/>
                  </a:lnTo>
                  <a:lnTo>
                    <a:pt x="569" y="39"/>
                  </a:lnTo>
                  <a:lnTo>
                    <a:pt x="551" y="31"/>
                  </a:lnTo>
                  <a:lnTo>
                    <a:pt x="533" y="24"/>
                  </a:lnTo>
                  <a:lnTo>
                    <a:pt x="515" y="18"/>
                  </a:lnTo>
                  <a:lnTo>
                    <a:pt x="496" y="12"/>
                  </a:lnTo>
                  <a:lnTo>
                    <a:pt x="477" y="8"/>
                  </a:lnTo>
                  <a:lnTo>
                    <a:pt x="457" y="5"/>
                  </a:lnTo>
                  <a:lnTo>
                    <a:pt x="438" y="1"/>
                  </a:lnTo>
                  <a:lnTo>
                    <a:pt x="417" y="0"/>
                  </a:lnTo>
                  <a:lnTo>
                    <a:pt x="39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15"/>
            <p:cNvSpPr>
              <a:spLocks/>
            </p:cNvSpPr>
            <p:nvPr/>
          </p:nvSpPr>
          <p:spPr bwMode="auto">
            <a:xfrm>
              <a:off x="3791743" y="3739753"/>
              <a:ext cx="93663" cy="93663"/>
            </a:xfrm>
            <a:custGeom>
              <a:avLst/>
              <a:gdLst>
                <a:gd name="T0" fmla="*/ 205 w 234"/>
                <a:gd name="T1" fmla="*/ 1 h 234"/>
                <a:gd name="T2" fmla="*/ 183 w 234"/>
                <a:gd name="T3" fmla="*/ 3 h 234"/>
                <a:gd name="T4" fmla="*/ 152 w 234"/>
                <a:gd name="T5" fmla="*/ 9 h 234"/>
                <a:gd name="T6" fmla="*/ 113 w 234"/>
                <a:gd name="T7" fmla="*/ 26 h 234"/>
                <a:gd name="T8" fmla="*/ 79 w 234"/>
                <a:gd name="T9" fmla="*/ 49 h 234"/>
                <a:gd name="T10" fmla="*/ 50 w 234"/>
                <a:gd name="T11" fmla="*/ 78 h 234"/>
                <a:gd name="T12" fmla="*/ 26 w 234"/>
                <a:gd name="T13" fmla="*/ 113 h 234"/>
                <a:gd name="T14" fmla="*/ 10 w 234"/>
                <a:gd name="T15" fmla="*/ 152 h 234"/>
                <a:gd name="T16" fmla="*/ 2 w 234"/>
                <a:gd name="T17" fmla="*/ 183 h 234"/>
                <a:gd name="T18" fmla="*/ 0 w 234"/>
                <a:gd name="T19" fmla="*/ 205 h 234"/>
                <a:gd name="T20" fmla="*/ 0 w 234"/>
                <a:gd name="T21" fmla="*/ 220 h 234"/>
                <a:gd name="T22" fmla="*/ 3 w 234"/>
                <a:gd name="T23" fmla="*/ 226 h 234"/>
                <a:gd name="T24" fmla="*/ 7 w 234"/>
                <a:gd name="T25" fmla="*/ 231 h 234"/>
                <a:gd name="T26" fmla="*/ 14 w 234"/>
                <a:gd name="T27" fmla="*/ 234 h 234"/>
                <a:gd name="T28" fmla="*/ 21 w 234"/>
                <a:gd name="T29" fmla="*/ 234 h 234"/>
                <a:gd name="T30" fmla="*/ 28 w 234"/>
                <a:gd name="T31" fmla="*/ 231 h 234"/>
                <a:gd name="T32" fmla="*/ 33 w 234"/>
                <a:gd name="T33" fmla="*/ 226 h 234"/>
                <a:gd name="T34" fmla="*/ 35 w 234"/>
                <a:gd name="T35" fmla="*/ 220 h 234"/>
                <a:gd name="T36" fmla="*/ 37 w 234"/>
                <a:gd name="T37" fmla="*/ 197 h 234"/>
                <a:gd name="T38" fmla="*/ 44 w 234"/>
                <a:gd name="T39" fmla="*/ 163 h 234"/>
                <a:gd name="T40" fmla="*/ 58 w 234"/>
                <a:gd name="T41" fmla="*/ 130 h 234"/>
                <a:gd name="T42" fmla="*/ 78 w 234"/>
                <a:gd name="T43" fmla="*/ 101 h 234"/>
                <a:gd name="T44" fmla="*/ 101 w 234"/>
                <a:gd name="T45" fmla="*/ 77 h 234"/>
                <a:gd name="T46" fmla="*/ 131 w 234"/>
                <a:gd name="T47" fmla="*/ 58 h 234"/>
                <a:gd name="T48" fmla="*/ 163 w 234"/>
                <a:gd name="T49" fmla="*/ 44 h 234"/>
                <a:gd name="T50" fmla="*/ 197 w 234"/>
                <a:gd name="T51" fmla="*/ 36 h 234"/>
                <a:gd name="T52" fmla="*/ 219 w 234"/>
                <a:gd name="T53" fmla="*/ 35 h 234"/>
                <a:gd name="T54" fmla="*/ 226 w 234"/>
                <a:gd name="T55" fmla="*/ 33 h 234"/>
                <a:gd name="T56" fmla="*/ 231 w 234"/>
                <a:gd name="T57" fmla="*/ 28 h 234"/>
                <a:gd name="T58" fmla="*/ 233 w 234"/>
                <a:gd name="T59" fmla="*/ 21 h 234"/>
                <a:gd name="T60" fmla="*/ 233 w 234"/>
                <a:gd name="T61" fmla="*/ 15 h 234"/>
                <a:gd name="T62" fmla="*/ 231 w 234"/>
                <a:gd name="T63" fmla="*/ 8 h 234"/>
                <a:gd name="T64" fmla="*/ 226 w 234"/>
                <a:gd name="T65" fmla="*/ 3 h 234"/>
                <a:gd name="T66" fmla="*/ 219 w 234"/>
                <a:gd name="T67" fmla="*/ 1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4" h="234">
                  <a:moveTo>
                    <a:pt x="216" y="0"/>
                  </a:moveTo>
                  <a:lnTo>
                    <a:pt x="205" y="1"/>
                  </a:lnTo>
                  <a:lnTo>
                    <a:pt x="194" y="1"/>
                  </a:lnTo>
                  <a:lnTo>
                    <a:pt x="183" y="3"/>
                  </a:lnTo>
                  <a:lnTo>
                    <a:pt x="173" y="4"/>
                  </a:lnTo>
                  <a:lnTo>
                    <a:pt x="152" y="9"/>
                  </a:lnTo>
                  <a:lnTo>
                    <a:pt x="132" y="17"/>
                  </a:lnTo>
                  <a:lnTo>
                    <a:pt x="113" y="26"/>
                  </a:lnTo>
                  <a:lnTo>
                    <a:pt x="95" y="36"/>
                  </a:lnTo>
                  <a:lnTo>
                    <a:pt x="79" y="49"/>
                  </a:lnTo>
                  <a:lnTo>
                    <a:pt x="64" y="63"/>
                  </a:lnTo>
                  <a:lnTo>
                    <a:pt x="50" y="78"/>
                  </a:lnTo>
                  <a:lnTo>
                    <a:pt x="37" y="95"/>
                  </a:lnTo>
                  <a:lnTo>
                    <a:pt x="26" y="113"/>
                  </a:lnTo>
                  <a:lnTo>
                    <a:pt x="17" y="131"/>
                  </a:lnTo>
                  <a:lnTo>
                    <a:pt x="10" y="152"/>
                  </a:lnTo>
                  <a:lnTo>
                    <a:pt x="4" y="172"/>
                  </a:lnTo>
                  <a:lnTo>
                    <a:pt x="2" y="183"/>
                  </a:lnTo>
                  <a:lnTo>
                    <a:pt x="1" y="194"/>
                  </a:lnTo>
                  <a:lnTo>
                    <a:pt x="0" y="205"/>
                  </a:lnTo>
                  <a:lnTo>
                    <a:pt x="0" y="216"/>
                  </a:lnTo>
                  <a:lnTo>
                    <a:pt x="0" y="220"/>
                  </a:lnTo>
                  <a:lnTo>
                    <a:pt x="1" y="223"/>
                  </a:lnTo>
                  <a:lnTo>
                    <a:pt x="3" y="226"/>
                  </a:lnTo>
                  <a:lnTo>
                    <a:pt x="5" y="229"/>
                  </a:lnTo>
                  <a:lnTo>
                    <a:pt x="7" y="231"/>
                  </a:lnTo>
                  <a:lnTo>
                    <a:pt x="11" y="233"/>
                  </a:lnTo>
                  <a:lnTo>
                    <a:pt x="14" y="234"/>
                  </a:lnTo>
                  <a:lnTo>
                    <a:pt x="18" y="234"/>
                  </a:lnTo>
                  <a:lnTo>
                    <a:pt x="21" y="234"/>
                  </a:lnTo>
                  <a:lnTo>
                    <a:pt x="25" y="233"/>
                  </a:lnTo>
                  <a:lnTo>
                    <a:pt x="28" y="231"/>
                  </a:lnTo>
                  <a:lnTo>
                    <a:pt x="31" y="229"/>
                  </a:lnTo>
                  <a:lnTo>
                    <a:pt x="33" y="226"/>
                  </a:lnTo>
                  <a:lnTo>
                    <a:pt x="34" y="223"/>
                  </a:lnTo>
                  <a:lnTo>
                    <a:pt x="35" y="220"/>
                  </a:lnTo>
                  <a:lnTo>
                    <a:pt x="35" y="216"/>
                  </a:lnTo>
                  <a:lnTo>
                    <a:pt x="37" y="197"/>
                  </a:lnTo>
                  <a:lnTo>
                    <a:pt x="40" y="180"/>
                  </a:lnTo>
                  <a:lnTo>
                    <a:pt x="44" y="163"/>
                  </a:lnTo>
                  <a:lnTo>
                    <a:pt x="51" y="145"/>
                  </a:lnTo>
                  <a:lnTo>
                    <a:pt x="58" y="130"/>
                  </a:lnTo>
                  <a:lnTo>
                    <a:pt x="67" y="115"/>
                  </a:lnTo>
                  <a:lnTo>
                    <a:pt x="78" y="101"/>
                  </a:lnTo>
                  <a:lnTo>
                    <a:pt x="88" y="88"/>
                  </a:lnTo>
                  <a:lnTo>
                    <a:pt x="101" y="77"/>
                  </a:lnTo>
                  <a:lnTo>
                    <a:pt x="115" y="67"/>
                  </a:lnTo>
                  <a:lnTo>
                    <a:pt x="131" y="58"/>
                  </a:lnTo>
                  <a:lnTo>
                    <a:pt x="146" y="50"/>
                  </a:lnTo>
                  <a:lnTo>
                    <a:pt x="163" y="44"/>
                  </a:lnTo>
                  <a:lnTo>
                    <a:pt x="180" y="40"/>
                  </a:lnTo>
                  <a:lnTo>
                    <a:pt x="197" y="36"/>
                  </a:lnTo>
                  <a:lnTo>
                    <a:pt x="216" y="36"/>
                  </a:lnTo>
                  <a:lnTo>
                    <a:pt x="219" y="35"/>
                  </a:lnTo>
                  <a:lnTo>
                    <a:pt x="223" y="34"/>
                  </a:lnTo>
                  <a:lnTo>
                    <a:pt x="226" y="33"/>
                  </a:lnTo>
                  <a:lnTo>
                    <a:pt x="229" y="31"/>
                  </a:lnTo>
                  <a:lnTo>
                    <a:pt x="231" y="28"/>
                  </a:lnTo>
                  <a:lnTo>
                    <a:pt x="232" y="24"/>
                  </a:lnTo>
                  <a:lnTo>
                    <a:pt x="233" y="21"/>
                  </a:lnTo>
                  <a:lnTo>
                    <a:pt x="234" y="18"/>
                  </a:lnTo>
                  <a:lnTo>
                    <a:pt x="233" y="15"/>
                  </a:lnTo>
                  <a:lnTo>
                    <a:pt x="232" y="10"/>
                  </a:lnTo>
                  <a:lnTo>
                    <a:pt x="231" y="8"/>
                  </a:lnTo>
                  <a:lnTo>
                    <a:pt x="229" y="5"/>
                  </a:lnTo>
                  <a:lnTo>
                    <a:pt x="226" y="3"/>
                  </a:lnTo>
                  <a:lnTo>
                    <a:pt x="223" y="2"/>
                  </a:lnTo>
                  <a:lnTo>
                    <a:pt x="219" y="1"/>
                  </a:lnTo>
                  <a:lnTo>
                    <a:pt x="2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D59F26C4-D45C-449B-845B-D6966B6EB65F}" type="slidenum">
              <a:rPr lang="en-US" smtClean="0"/>
              <a:pPr algn="ctr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26164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450" decel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" accel="10000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450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" accel="10000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450" decel="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" accel="10000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000"/>
                            </p:stCondLst>
                            <p:childTnLst>
                              <p:par>
                                <p:cTn id="4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2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>
            <p:custDataLst>
              <p:tags r:id="rId1"/>
            </p:custDataLst>
          </p:nvPr>
        </p:nvSpPr>
        <p:spPr>
          <a:xfrm>
            <a:off x="734268" y="3614056"/>
            <a:ext cx="11038941" cy="56644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400" spc="300" dirty="0"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SPECIFICATIONS FONCTIONNELLES</a:t>
            </a:r>
          </a:p>
          <a:p>
            <a:pPr algn="ctr"/>
            <a:r>
              <a:rPr lang="fr-FR" sz="4400" dirty="0"/>
              <a:t> Besoin fonctionnel + non-fonctionnel</a:t>
            </a:r>
          </a:p>
          <a:p>
            <a:pPr algn="ctr"/>
            <a:endParaRPr lang="en-US" sz="4400" spc="-151" dirty="0">
              <a:solidFill>
                <a:schemeClr val="bg1">
                  <a:lumMod val="95000"/>
                </a:schemeClr>
              </a:solidFill>
              <a:latin typeface="Titillium" panose="00000500000000000000" pitchFamily="50" charset="0"/>
              <a:ea typeface="Roboto" panose="02000000000000000000" pitchFamily="2" charset="0"/>
              <a:cs typeface="Open Sans Semibold" panose="020B0706030804020204" pitchFamily="34" charset="0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5729525" y="1708476"/>
            <a:ext cx="732951" cy="730579"/>
            <a:chOff x="548674" y="2374862"/>
            <a:chExt cx="449901" cy="448445"/>
          </a:xfrm>
          <a:solidFill>
            <a:schemeClr val="bg1">
              <a:lumMod val="95000"/>
            </a:schemeClr>
          </a:solidFill>
        </p:grpSpPr>
        <p:sp>
          <p:nvSpPr>
            <p:cNvPr id="18" name="Freeform 109"/>
            <p:cNvSpPr>
              <a:spLocks/>
            </p:cNvSpPr>
            <p:nvPr/>
          </p:nvSpPr>
          <p:spPr bwMode="auto">
            <a:xfrm>
              <a:off x="548674" y="2411262"/>
              <a:ext cx="346526" cy="412045"/>
            </a:xfrm>
            <a:custGeom>
              <a:avLst/>
              <a:gdLst>
                <a:gd name="T0" fmla="*/ 714 w 714"/>
                <a:gd name="T1" fmla="*/ 850 h 850"/>
                <a:gd name="T2" fmla="*/ 0 w 714"/>
                <a:gd name="T3" fmla="*/ 850 h 850"/>
                <a:gd name="T4" fmla="*/ 0 w 714"/>
                <a:gd name="T5" fmla="*/ 0 h 850"/>
                <a:gd name="T6" fmla="*/ 560 w 714"/>
                <a:gd name="T7" fmla="*/ 0 h 850"/>
                <a:gd name="T8" fmla="*/ 564 w 714"/>
                <a:gd name="T9" fmla="*/ 1 h 850"/>
                <a:gd name="T10" fmla="*/ 567 w 714"/>
                <a:gd name="T11" fmla="*/ 1 h 850"/>
                <a:gd name="T12" fmla="*/ 570 w 714"/>
                <a:gd name="T13" fmla="*/ 4 h 850"/>
                <a:gd name="T14" fmla="*/ 573 w 714"/>
                <a:gd name="T15" fmla="*/ 6 h 850"/>
                <a:gd name="T16" fmla="*/ 576 w 714"/>
                <a:gd name="T17" fmla="*/ 9 h 850"/>
                <a:gd name="T18" fmla="*/ 577 w 714"/>
                <a:gd name="T19" fmla="*/ 13 h 850"/>
                <a:gd name="T20" fmla="*/ 579 w 714"/>
                <a:gd name="T21" fmla="*/ 16 h 850"/>
                <a:gd name="T22" fmla="*/ 579 w 714"/>
                <a:gd name="T23" fmla="*/ 20 h 850"/>
                <a:gd name="T24" fmla="*/ 579 w 714"/>
                <a:gd name="T25" fmla="*/ 23 h 850"/>
                <a:gd name="T26" fmla="*/ 577 w 714"/>
                <a:gd name="T27" fmla="*/ 27 h 850"/>
                <a:gd name="T28" fmla="*/ 576 w 714"/>
                <a:gd name="T29" fmla="*/ 30 h 850"/>
                <a:gd name="T30" fmla="*/ 573 w 714"/>
                <a:gd name="T31" fmla="*/ 33 h 850"/>
                <a:gd name="T32" fmla="*/ 570 w 714"/>
                <a:gd name="T33" fmla="*/ 36 h 850"/>
                <a:gd name="T34" fmla="*/ 567 w 714"/>
                <a:gd name="T35" fmla="*/ 37 h 850"/>
                <a:gd name="T36" fmla="*/ 564 w 714"/>
                <a:gd name="T37" fmla="*/ 39 h 850"/>
                <a:gd name="T38" fmla="*/ 560 w 714"/>
                <a:gd name="T39" fmla="*/ 39 h 850"/>
                <a:gd name="T40" fmla="*/ 39 w 714"/>
                <a:gd name="T41" fmla="*/ 39 h 850"/>
                <a:gd name="T42" fmla="*/ 39 w 714"/>
                <a:gd name="T43" fmla="*/ 812 h 850"/>
                <a:gd name="T44" fmla="*/ 675 w 714"/>
                <a:gd name="T45" fmla="*/ 812 h 850"/>
                <a:gd name="T46" fmla="*/ 675 w 714"/>
                <a:gd name="T47" fmla="*/ 387 h 850"/>
                <a:gd name="T48" fmla="*/ 677 w 714"/>
                <a:gd name="T49" fmla="*/ 383 h 850"/>
                <a:gd name="T50" fmla="*/ 677 w 714"/>
                <a:gd name="T51" fmla="*/ 379 h 850"/>
                <a:gd name="T52" fmla="*/ 679 w 714"/>
                <a:gd name="T53" fmla="*/ 376 h 850"/>
                <a:gd name="T54" fmla="*/ 681 w 714"/>
                <a:gd name="T55" fmla="*/ 373 h 850"/>
                <a:gd name="T56" fmla="*/ 684 w 714"/>
                <a:gd name="T57" fmla="*/ 370 h 850"/>
                <a:gd name="T58" fmla="*/ 688 w 714"/>
                <a:gd name="T59" fmla="*/ 369 h 850"/>
                <a:gd name="T60" fmla="*/ 691 w 714"/>
                <a:gd name="T61" fmla="*/ 367 h 850"/>
                <a:gd name="T62" fmla="*/ 695 w 714"/>
                <a:gd name="T63" fmla="*/ 367 h 850"/>
                <a:gd name="T64" fmla="*/ 698 w 714"/>
                <a:gd name="T65" fmla="*/ 367 h 850"/>
                <a:gd name="T66" fmla="*/ 702 w 714"/>
                <a:gd name="T67" fmla="*/ 369 h 850"/>
                <a:gd name="T68" fmla="*/ 705 w 714"/>
                <a:gd name="T69" fmla="*/ 370 h 850"/>
                <a:gd name="T70" fmla="*/ 708 w 714"/>
                <a:gd name="T71" fmla="*/ 373 h 850"/>
                <a:gd name="T72" fmla="*/ 711 w 714"/>
                <a:gd name="T73" fmla="*/ 376 h 850"/>
                <a:gd name="T74" fmla="*/ 713 w 714"/>
                <a:gd name="T75" fmla="*/ 379 h 850"/>
                <a:gd name="T76" fmla="*/ 714 w 714"/>
                <a:gd name="T77" fmla="*/ 383 h 850"/>
                <a:gd name="T78" fmla="*/ 714 w 714"/>
                <a:gd name="T79" fmla="*/ 387 h 850"/>
                <a:gd name="T80" fmla="*/ 714 w 714"/>
                <a:gd name="T81" fmla="*/ 850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14" h="850">
                  <a:moveTo>
                    <a:pt x="714" y="850"/>
                  </a:moveTo>
                  <a:lnTo>
                    <a:pt x="0" y="850"/>
                  </a:lnTo>
                  <a:lnTo>
                    <a:pt x="0" y="0"/>
                  </a:lnTo>
                  <a:lnTo>
                    <a:pt x="560" y="0"/>
                  </a:lnTo>
                  <a:lnTo>
                    <a:pt x="564" y="1"/>
                  </a:lnTo>
                  <a:lnTo>
                    <a:pt x="567" y="1"/>
                  </a:lnTo>
                  <a:lnTo>
                    <a:pt x="570" y="4"/>
                  </a:lnTo>
                  <a:lnTo>
                    <a:pt x="573" y="6"/>
                  </a:lnTo>
                  <a:lnTo>
                    <a:pt x="576" y="9"/>
                  </a:lnTo>
                  <a:lnTo>
                    <a:pt x="577" y="13"/>
                  </a:lnTo>
                  <a:lnTo>
                    <a:pt x="579" y="16"/>
                  </a:lnTo>
                  <a:lnTo>
                    <a:pt x="579" y="20"/>
                  </a:lnTo>
                  <a:lnTo>
                    <a:pt x="579" y="23"/>
                  </a:lnTo>
                  <a:lnTo>
                    <a:pt x="577" y="27"/>
                  </a:lnTo>
                  <a:lnTo>
                    <a:pt x="576" y="30"/>
                  </a:lnTo>
                  <a:lnTo>
                    <a:pt x="573" y="33"/>
                  </a:lnTo>
                  <a:lnTo>
                    <a:pt x="570" y="36"/>
                  </a:lnTo>
                  <a:lnTo>
                    <a:pt x="567" y="37"/>
                  </a:lnTo>
                  <a:lnTo>
                    <a:pt x="564" y="39"/>
                  </a:lnTo>
                  <a:lnTo>
                    <a:pt x="560" y="39"/>
                  </a:lnTo>
                  <a:lnTo>
                    <a:pt x="39" y="39"/>
                  </a:lnTo>
                  <a:lnTo>
                    <a:pt x="39" y="812"/>
                  </a:lnTo>
                  <a:lnTo>
                    <a:pt x="675" y="812"/>
                  </a:lnTo>
                  <a:lnTo>
                    <a:pt x="675" y="387"/>
                  </a:lnTo>
                  <a:lnTo>
                    <a:pt x="677" y="383"/>
                  </a:lnTo>
                  <a:lnTo>
                    <a:pt x="677" y="379"/>
                  </a:lnTo>
                  <a:lnTo>
                    <a:pt x="679" y="376"/>
                  </a:lnTo>
                  <a:lnTo>
                    <a:pt x="681" y="373"/>
                  </a:lnTo>
                  <a:lnTo>
                    <a:pt x="684" y="370"/>
                  </a:lnTo>
                  <a:lnTo>
                    <a:pt x="688" y="369"/>
                  </a:lnTo>
                  <a:lnTo>
                    <a:pt x="691" y="367"/>
                  </a:lnTo>
                  <a:lnTo>
                    <a:pt x="695" y="367"/>
                  </a:lnTo>
                  <a:lnTo>
                    <a:pt x="698" y="367"/>
                  </a:lnTo>
                  <a:lnTo>
                    <a:pt x="702" y="369"/>
                  </a:lnTo>
                  <a:lnTo>
                    <a:pt x="705" y="370"/>
                  </a:lnTo>
                  <a:lnTo>
                    <a:pt x="708" y="373"/>
                  </a:lnTo>
                  <a:lnTo>
                    <a:pt x="711" y="376"/>
                  </a:lnTo>
                  <a:lnTo>
                    <a:pt x="713" y="379"/>
                  </a:lnTo>
                  <a:lnTo>
                    <a:pt x="714" y="383"/>
                  </a:lnTo>
                  <a:lnTo>
                    <a:pt x="714" y="387"/>
                  </a:lnTo>
                  <a:lnTo>
                    <a:pt x="714" y="8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10"/>
            <p:cNvSpPr>
              <a:spLocks noEditPoints="1"/>
            </p:cNvSpPr>
            <p:nvPr/>
          </p:nvSpPr>
          <p:spPr bwMode="auto">
            <a:xfrm>
              <a:off x="742321" y="2374862"/>
              <a:ext cx="256254" cy="256254"/>
            </a:xfrm>
            <a:custGeom>
              <a:avLst/>
              <a:gdLst>
                <a:gd name="T0" fmla="*/ 89 w 528"/>
                <a:gd name="T1" fmla="*/ 410 h 528"/>
                <a:gd name="T2" fmla="*/ 62 w 528"/>
                <a:gd name="T3" fmla="*/ 465 h 528"/>
                <a:gd name="T4" fmla="*/ 116 w 528"/>
                <a:gd name="T5" fmla="*/ 437 h 528"/>
                <a:gd name="T6" fmla="*/ 483 w 528"/>
                <a:gd name="T7" fmla="*/ 72 h 528"/>
                <a:gd name="T8" fmla="*/ 486 w 528"/>
                <a:gd name="T9" fmla="*/ 67 h 528"/>
                <a:gd name="T10" fmla="*/ 489 w 528"/>
                <a:gd name="T11" fmla="*/ 61 h 528"/>
                <a:gd name="T12" fmla="*/ 489 w 528"/>
                <a:gd name="T13" fmla="*/ 57 h 528"/>
                <a:gd name="T14" fmla="*/ 488 w 528"/>
                <a:gd name="T15" fmla="*/ 51 h 528"/>
                <a:gd name="T16" fmla="*/ 485 w 528"/>
                <a:gd name="T17" fmla="*/ 46 h 528"/>
                <a:gd name="T18" fmla="*/ 479 w 528"/>
                <a:gd name="T19" fmla="*/ 41 h 528"/>
                <a:gd name="T20" fmla="*/ 475 w 528"/>
                <a:gd name="T21" fmla="*/ 38 h 528"/>
                <a:gd name="T22" fmla="*/ 469 w 528"/>
                <a:gd name="T23" fmla="*/ 38 h 528"/>
                <a:gd name="T24" fmla="*/ 465 w 528"/>
                <a:gd name="T25" fmla="*/ 38 h 528"/>
                <a:gd name="T26" fmla="*/ 462 w 528"/>
                <a:gd name="T27" fmla="*/ 40 h 528"/>
                <a:gd name="T28" fmla="*/ 459 w 528"/>
                <a:gd name="T29" fmla="*/ 41 h 528"/>
                <a:gd name="T30" fmla="*/ 456 w 528"/>
                <a:gd name="T31" fmla="*/ 44 h 528"/>
                <a:gd name="T32" fmla="*/ 89 w 528"/>
                <a:gd name="T33" fmla="*/ 410 h 528"/>
                <a:gd name="T34" fmla="*/ 18 w 528"/>
                <a:gd name="T35" fmla="*/ 528 h 528"/>
                <a:gd name="T36" fmla="*/ 15 w 528"/>
                <a:gd name="T37" fmla="*/ 527 h 528"/>
                <a:gd name="T38" fmla="*/ 11 w 528"/>
                <a:gd name="T39" fmla="*/ 527 h 528"/>
                <a:gd name="T40" fmla="*/ 8 w 528"/>
                <a:gd name="T41" fmla="*/ 524 h 528"/>
                <a:gd name="T42" fmla="*/ 5 w 528"/>
                <a:gd name="T43" fmla="*/ 522 h 528"/>
                <a:gd name="T44" fmla="*/ 1 w 528"/>
                <a:gd name="T45" fmla="*/ 517 h 528"/>
                <a:gd name="T46" fmla="*/ 0 w 528"/>
                <a:gd name="T47" fmla="*/ 511 h 528"/>
                <a:gd name="T48" fmla="*/ 0 w 528"/>
                <a:gd name="T49" fmla="*/ 505 h 528"/>
                <a:gd name="T50" fmla="*/ 1 w 528"/>
                <a:gd name="T51" fmla="*/ 499 h 528"/>
                <a:gd name="T52" fmla="*/ 56 w 528"/>
                <a:gd name="T53" fmla="*/ 390 h 528"/>
                <a:gd name="T54" fmla="*/ 57 w 528"/>
                <a:gd name="T55" fmla="*/ 388 h 528"/>
                <a:gd name="T56" fmla="*/ 60 w 528"/>
                <a:gd name="T57" fmla="*/ 386 h 528"/>
                <a:gd name="T58" fmla="*/ 429 w 528"/>
                <a:gd name="T59" fmla="*/ 17 h 528"/>
                <a:gd name="T60" fmla="*/ 437 w 528"/>
                <a:gd name="T61" fmla="*/ 10 h 528"/>
                <a:gd name="T62" fmla="*/ 447 w 528"/>
                <a:gd name="T63" fmla="*/ 4 h 528"/>
                <a:gd name="T64" fmla="*/ 458 w 528"/>
                <a:gd name="T65" fmla="*/ 1 h 528"/>
                <a:gd name="T66" fmla="*/ 469 w 528"/>
                <a:gd name="T67" fmla="*/ 0 h 528"/>
                <a:gd name="T68" fmla="*/ 478 w 528"/>
                <a:gd name="T69" fmla="*/ 0 h 528"/>
                <a:gd name="T70" fmla="*/ 486 w 528"/>
                <a:gd name="T71" fmla="*/ 2 h 528"/>
                <a:gd name="T72" fmla="*/ 494 w 528"/>
                <a:gd name="T73" fmla="*/ 5 h 528"/>
                <a:gd name="T74" fmla="*/ 501 w 528"/>
                <a:gd name="T75" fmla="*/ 10 h 528"/>
                <a:gd name="T76" fmla="*/ 508 w 528"/>
                <a:gd name="T77" fmla="*/ 15 h 528"/>
                <a:gd name="T78" fmla="*/ 514 w 528"/>
                <a:gd name="T79" fmla="*/ 21 h 528"/>
                <a:gd name="T80" fmla="*/ 519 w 528"/>
                <a:gd name="T81" fmla="*/ 28 h 528"/>
                <a:gd name="T82" fmla="*/ 524 w 528"/>
                <a:gd name="T83" fmla="*/ 37 h 528"/>
                <a:gd name="T84" fmla="*/ 527 w 528"/>
                <a:gd name="T85" fmla="*/ 46 h 528"/>
                <a:gd name="T86" fmla="*/ 528 w 528"/>
                <a:gd name="T87" fmla="*/ 53 h 528"/>
                <a:gd name="T88" fmla="*/ 528 w 528"/>
                <a:gd name="T89" fmla="*/ 61 h 528"/>
                <a:gd name="T90" fmla="*/ 527 w 528"/>
                <a:gd name="T91" fmla="*/ 69 h 528"/>
                <a:gd name="T92" fmla="*/ 524 w 528"/>
                <a:gd name="T93" fmla="*/ 77 h 528"/>
                <a:gd name="T94" fmla="*/ 521 w 528"/>
                <a:gd name="T95" fmla="*/ 85 h 528"/>
                <a:gd name="T96" fmla="*/ 517 w 528"/>
                <a:gd name="T97" fmla="*/ 92 h 528"/>
                <a:gd name="T98" fmla="*/ 511 w 528"/>
                <a:gd name="T99" fmla="*/ 99 h 528"/>
                <a:gd name="T100" fmla="*/ 142 w 528"/>
                <a:gd name="T101" fmla="*/ 468 h 528"/>
                <a:gd name="T102" fmla="*/ 139 w 528"/>
                <a:gd name="T103" fmla="*/ 469 h 528"/>
                <a:gd name="T104" fmla="*/ 136 w 528"/>
                <a:gd name="T105" fmla="*/ 471 h 528"/>
                <a:gd name="T106" fmla="*/ 27 w 528"/>
                <a:gd name="T107" fmla="*/ 525 h 528"/>
                <a:gd name="T108" fmla="*/ 23 w 528"/>
                <a:gd name="T109" fmla="*/ 527 h 528"/>
                <a:gd name="T110" fmla="*/ 18 w 528"/>
                <a:gd name="T111" fmla="*/ 528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8" h="528">
                  <a:moveTo>
                    <a:pt x="89" y="410"/>
                  </a:moveTo>
                  <a:lnTo>
                    <a:pt x="62" y="465"/>
                  </a:lnTo>
                  <a:lnTo>
                    <a:pt x="116" y="437"/>
                  </a:lnTo>
                  <a:lnTo>
                    <a:pt x="483" y="72"/>
                  </a:lnTo>
                  <a:lnTo>
                    <a:pt x="486" y="67"/>
                  </a:lnTo>
                  <a:lnTo>
                    <a:pt x="489" y="61"/>
                  </a:lnTo>
                  <a:lnTo>
                    <a:pt x="489" y="57"/>
                  </a:lnTo>
                  <a:lnTo>
                    <a:pt x="488" y="51"/>
                  </a:lnTo>
                  <a:lnTo>
                    <a:pt x="485" y="46"/>
                  </a:lnTo>
                  <a:lnTo>
                    <a:pt x="479" y="41"/>
                  </a:lnTo>
                  <a:lnTo>
                    <a:pt x="475" y="38"/>
                  </a:lnTo>
                  <a:lnTo>
                    <a:pt x="469" y="38"/>
                  </a:lnTo>
                  <a:lnTo>
                    <a:pt x="465" y="38"/>
                  </a:lnTo>
                  <a:lnTo>
                    <a:pt x="462" y="40"/>
                  </a:lnTo>
                  <a:lnTo>
                    <a:pt x="459" y="41"/>
                  </a:lnTo>
                  <a:lnTo>
                    <a:pt x="456" y="44"/>
                  </a:lnTo>
                  <a:lnTo>
                    <a:pt x="89" y="410"/>
                  </a:lnTo>
                  <a:close/>
                  <a:moveTo>
                    <a:pt x="18" y="528"/>
                  </a:moveTo>
                  <a:lnTo>
                    <a:pt x="15" y="527"/>
                  </a:lnTo>
                  <a:lnTo>
                    <a:pt x="11" y="527"/>
                  </a:lnTo>
                  <a:lnTo>
                    <a:pt x="8" y="524"/>
                  </a:lnTo>
                  <a:lnTo>
                    <a:pt x="5" y="522"/>
                  </a:lnTo>
                  <a:lnTo>
                    <a:pt x="1" y="517"/>
                  </a:lnTo>
                  <a:lnTo>
                    <a:pt x="0" y="511"/>
                  </a:lnTo>
                  <a:lnTo>
                    <a:pt x="0" y="505"/>
                  </a:lnTo>
                  <a:lnTo>
                    <a:pt x="1" y="499"/>
                  </a:lnTo>
                  <a:lnTo>
                    <a:pt x="56" y="390"/>
                  </a:lnTo>
                  <a:lnTo>
                    <a:pt x="57" y="388"/>
                  </a:lnTo>
                  <a:lnTo>
                    <a:pt x="60" y="386"/>
                  </a:lnTo>
                  <a:lnTo>
                    <a:pt x="429" y="17"/>
                  </a:lnTo>
                  <a:lnTo>
                    <a:pt x="437" y="10"/>
                  </a:lnTo>
                  <a:lnTo>
                    <a:pt x="447" y="4"/>
                  </a:lnTo>
                  <a:lnTo>
                    <a:pt x="458" y="1"/>
                  </a:lnTo>
                  <a:lnTo>
                    <a:pt x="469" y="0"/>
                  </a:lnTo>
                  <a:lnTo>
                    <a:pt x="478" y="0"/>
                  </a:lnTo>
                  <a:lnTo>
                    <a:pt x="486" y="2"/>
                  </a:lnTo>
                  <a:lnTo>
                    <a:pt x="494" y="5"/>
                  </a:lnTo>
                  <a:lnTo>
                    <a:pt x="501" y="10"/>
                  </a:lnTo>
                  <a:lnTo>
                    <a:pt x="508" y="15"/>
                  </a:lnTo>
                  <a:lnTo>
                    <a:pt x="514" y="21"/>
                  </a:lnTo>
                  <a:lnTo>
                    <a:pt x="519" y="28"/>
                  </a:lnTo>
                  <a:lnTo>
                    <a:pt x="524" y="37"/>
                  </a:lnTo>
                  <a:lnTo>
                    <a:pt x="527" y="46"/>
                  </a:lnTo>
                  <a:lnTo>
                    <a:pt x="528" y="53"/>
                  </a:lnTo>
                  <a:lnTo>
                    <a:pt x="528" y="61"/>
                  </a:lnTo>
                  <a:lnTo>
                    <a:pt x="527" y="69"/>
                  </a:lnTo>
                  <a:lnTo>
                    <a:pt x="524" y="77"/>
                  </a:lnTo>
                  <a:lnTo>
                    <a:pt x="521" y="85"/>
                  </a:lnTo>
                  <a:lnTo>
                    <a:pt x="517" y="92"/>
                  </a:lnTo>
                  <a:lnTo>
                    <a:pt x="511" y="99"/>
                  </a:lnTo>
                  <a:lnTo>
                    <a:pt x="142" y="468"/>
                  </a:lnTo>
                  <a:lnTo>
                    <a:pt x="139" y="469"/>
                  </a:lnTo>
                  <a:lnTo>
                    <a:pt x="136" y="471"/>
                  </a:lnTo>
                  <a:lnTo>
                    <a:pt x="27" y="525"/>
                  </a:lnTo>
                  <a:lnTo>
                    <a:pt x="23" y="527"/>
                  </a:lnTo>
                  <a:lnTo>
                    <a:pt x="1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1"/>
            <p:cNvSpPr>
              <a:spLocks/>
            </p:cNvSpPr>
            <p:nvPr/>
          </p:nvSpPr>
          <p:spPr bwMode="auto">
            <a:xfrm>
              <a:off x="921407" y="2406894"/>
              <a:ext cx="45136" cy="45136"/>
            </a:xfrm>
            <a:custGeom>
              <a:avLst/>
              <a:gdLst>
                <a:gd name="T0" fmla="*/ 74 w 94"/>
                <a:gd name="T1" fmla="*/ 93 h 93"/>
                <a:gd name="T2" fmla="*/ 71 w 94"/>
                <a:gd name="T3" fmla="*/ 92 h 93"/>
                <a:gd name="T4" fmla="*/ 66 w 94"/>
                <a:gd name="T5" fmla="*/ 92 h 93"/>
                <a:gd name="T6" fmla="*/ 64 w 94"/>
                <a:gd name="T7" fmla="*/ 89 h 93"/>
                <a:gd name="T8" fmla="*/ 61 w 94"/>
                <a:gd name="T9" fmla="*/ 88 h 93"/>
                <a:gd name="T10" fmla="*/ 6 w 94"/>
                <a:gd name="T11" fmla="*/ 33 h 93"/>
                <a:gd name="T12" fmla="*/ 3 w 94"/>
                <a:gd name="T13" fmla="*/ 30 h 93"/>
                <a:gd name="T14" fmla="*/ 2 w 94"/>
                <a:gd name="T15" fmla="*/ 26 h 93"/>
                <a:gd name="T16" fmla="*/ 0 w 94"/>
                <a:gd name="T17" fmla="*/ 23 h 93"/>
                <a:gd name="T18" fmla="*/ 0 w 94"/>
                <a:gd name="T19" fmla="*/ 19 h 93"/>
                <a:gd name="T20" fmla="*/ 0 w 94"/>
                <a:gd name="T21" fmla="*/ 16 h 93"/>
                <a:gd name="T22" fmla="*/ 2 w 94"/>
                <a:gd name="T23" fmla="*/ 11 h 93"/>
                <a:gd name="T24" fmla="*/ 3 w 94"/>
                <a:gd name="T25" fmla="*/ 8 h 93"/>
                <a:gd name="T26" fmla="*/ 6 w 94"/>
                <a:gd name="T27" fmla="*/ 6 h 93"/>
                <a:gd name="T28" fmla="*/ 9 w 94"/>
                <a:gd name="T29" fmla="*/ 3 h 93"/>
                <a:gd name="T30" fmla="*/ 12 w 94"/>
                <a:gd name="T31" fmla="*/ 1 h 93"/>
                <a:gd name="T32" fmla="*/ 16 w 94"/>
                <a:gd name="T33" fmla="*/ 0 h 93"/>
                <a:gd name="T34" fmla="*/ 19 w 94"/>
                <a:gd name="T35" fmla="*/ 0 h 93"/>
                <a:gd name="T36" fmla="*/ 23 w 94"/>
                <a:gd name="T37" fmla="*/ 0 h 93"/>
                <a:gd name="T38" fmla="*/ 26 w 94"/>
                <a:gd name="T39" fmla="*/ 1 h 93"/>
                <a:gd name="T40" fmla="*/ 30 w 94"/>
                <a:gd name="T41" fmla="*/ 3 h 93"/>
                <a:gd name="T42" fmla="*/ 33 w 94"/>
                <a:gd name="T43" fmla="*/ 6 h 93"/>
                <a:gd name="T44" fmla="*/ 88 w 94"/>
                <a:gd name="T45" fmla="*/ 60 h 93"/>
                <a:gd name="T46" fmla="*/ 90 w 94"/>
                <a:gd name="T47" fmla="*/ 63 h 93"/>
                <a:gd name="T48" fmla="*/ 92 w 94"/>
                <a:gd name="T49" fmla="*/ 66 h 93"/>
                <a:gd name="T50" fmla="*/ 92 w 94"/>
                <a:gd name="T51" fmla="*/ 70 h 93"/>
                <a:gd name="T52" fmla="*/ 94 w 94"/>
                <a:gd name="T53" fmla="*/ 73 h 93"/>
                <a:gd name="T54" fmla="*/ 92 w 94"/>
                <a:gd name="T55" fmla="*/ 78 h 93"/>
                <a:gd name="T56" fmla="*/ 92 w 94"/>
                <a:gd name="T57" fmla="*/ 80 h 93"/>
                <a:gd name="T58" fmla="*/ 90 w 94"/>
                <a:gd name="T59" fmla="*/ 85 h 93"/>
                <a:gd name="T60" fmla="*/ 88 w 94"/>
                <a:gd name="T61" fmla="*/ 88 h 93"/>
                <a:gd name="T62" fmla="*/ 85 w 94"/>
                <a:gd name="T63" fmla="*/ 89 h 93"/>
                <a:gd name="T64" fmla="*/ 81 w 94"/>
                <a:gd name="T65" fmla="*/ 92 h 93"/>
                <a:gd name="T66" fmla="*/ 78 w 94"/>
                <a:gd name="T67" fmla="*/ 92 h 93"/>
                <a:gd name="T68" fmla="*/ 74 w 94"/>
                <a:gd name="T69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4" h="93">
                  <a:moveTo>
                    <a:pt x="74" y="93"/>
                  </a:moveTo>
                  <a:lnTo>
                    <a:pt x="71" y="92"/>
                  </a:lnTo>
                  <a:lnTo>
                    <a:pt x="66" y="92"/>
                  </a:lnTo>
                  <a:lnTo>
                    <a:pt x="64" y="89"/>
                  </a:lnTo>
                  <a:lnTo>
                    <a:pt x="61" y="88"/>
                  </a:lnTo>
                  <a:lnTo>
                    <a:pt x="6" y="33"/>
                  </a:lnTo>
                  <a:lnTo>
                    <a:pt x="3" y="30"/>
                  </a:lnTo>
                  <a:lnTo>
                    <a:pt x="2" y="26"/>
                  </a:lnTo>
                  <a:lnTo>
                    <a:pt x="0" y="23"/>
                  </a:lnTo>
                  <a:lnTo>
                    <a:pt x="0" y="19"/>
                  </a:lnTo>
                  <a:lnTo>
                    <a:pt x="0" y="16"/>
                  </a:lnTo>
                  <a:lnTo>
                    <a:pt x="2" y="11"/>
                  </a:lnTo>
                  <a:lnTo>
                    <a:pt x="3" y="8"/>
                  </a:lnTo>
                  <a:lnTo>
                    <a:pt x="6" y="6"/>
                  </a:lnTo>
                  <a:lnTo>
                    <a:pt x="9" y="3"/>
                  </a:lnTo>
                  <a:lnTo>
                    <a:pt x="12" y="1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6" y="1"/>
                  </a:lnTo>
                  <a:lnTo>
                    <a:pt x="30" y="3"/>
                  </a:lnTo>
                  <a:lnTo>
                    <a:pt x="33" y="6"/>
                  </a:lnTo>
                  <a:lnTo>
                    <a:pt x="88" y="60"/>
                  </a:lnTo>
                  <a:lnTo>
                    <a:pt x="90" y="63"/>
                  </a:lnTo>
                  <a:lnTo>
                    <a:pt x="92" y="66"/>
                  </a:lnTo>
                  <a:lnTo>
                    <a:pt x="92" y="70"/>
                  </a:lnTo>
                  <a:lnTo>
                    <a:pt x="94" y="73"/>
                  </a:lnTo>
                  <a:lnTo>
                    <a:pt x="92" y="78"/>
                  </a:lnTo>
                  <a:lnTo>
                    <a:pt x="92" y="80"/>
                  </a:lnTo>
                  <a:lnTo>
                    <a:pt x="90" y="85"/>
                  </a:lnTo>
                  <a:lnTo>
                    <a:pt x="88" y="88"/>
                  </a:lnTo>
                  <a:lnTo>
                    <a:pt x="85" y="89"/>
                  </a:lnTo>
                  <a:lnTo>
                    <a:pt x="81" y="92"/>
                  </a:lnTo>
                  <a:lnTo>
                    <a:pt x="78" y="92"/>
                  </a:lnTo>
                  <a:lnTo>
                    <a:pt x="74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" name="Footer Placeholder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615543" y="5668612"/>
            <a:ext cx="2960914" cy="55968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sz="3600" b="1" spc="-151" dirty="0">
                <a:latin typeface="Arial" panose="020B0604020202020204" pitchFamily="34" charset="0"/>
              </a:rPr>
              <a:t>BIKE</a:t>
            </a:r>
          </a:p>
        </p:txBody>
      </p:sp>
    </p:spTree>
    <p:extLst>
      <p:ext uri="{BB962C8B-B14F-4D97-AF65-F5344CB8AC3E}">
        <p14:creationId xmlns:p14="http://schemas.microsoft.com/office/powerpoint/2010/main" val="4156342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675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75" accel="100000" fill="hold">
                                          <p:stCondLst>
                                            <p:cond delay="67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>
            <p:custDataLst>
              <p:tags r:id="rId1"/>
            </p:custDataLst>
          </p:nvPr>
        </p:nvSpPr>
        <p:spPr>
          <a:xfrm>
            <a:off x="1765300" y="361450"/>
            <a:ext cx="8661400" cy="56644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spc="600" dirty="0">
                <a:solidFill>
                  <a:schemeClr val="bg1">
                    <a:lumMod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LES BESOINS FONCTIONNEL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9F26C4-D45C-449B-845B-D6966B6EB65F}" type="slidenum">
              <a:rPr lang="en-US" smtClean="0"/>
              <a:t>9</a:t>
            </a:fld>
            <a:endParaRPr lang="en-US" dirty="0"/>
          </a:p>
        </p:txBody>
      </p:sp>
      <p:sp>
        <p:nvSpPr>
          <p:cNvPr id="37" name="Arc 36"/>
          <p:cNvSpPr/>
          <p:nvPr/>
        </p:nvSpPr>
        <p:spPr>
          <a:xfrm>
            <a:off x="111150" y="2065354"/>
            <a:ext cx="1598116" cy="1598116"/>
          </a:xfrm>
          <a:prstGeom prst="arc">
            <a:avLst>
              <a:gd name="adj1" fmla="val 7846411"/>
              <a:gd name="adj2" fmla="val 3022004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Arc 39"/>
          <p:cNvSpPr/>
          <p:nvPr/>
        </p:nvSpPr>
        <p:spPr>
          <a:xfrm>
            <a:off x="2028148" y="2043192"/>
            <a:ext cx="1598116" cy="1598116"/>
          </a:xfrm>
          <a:prstGeom prst="arc">
            <a:avLst>
              <a:gd name="adj1" fmla="val 7846411"/>
              <a:gd name="adj2" fmla="val 3022004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Arc 42"/>
          <p:cNvSpPr/>
          <p:nvPr/>
        </p:nvSpPr>
        <p:spPr>
          <a:xfrm>
            <a:off x="4073525" y="2065354"/>
            <a:ext cx="1598116" cy="1598116"/>
          </a:xfrm>
          <a:prstGeom prst="arc">
            <a:avLst>
              <a:gd name="adj1" fmla="val 7846411"/>
              <a:gd name="adj2" fmla="val 3022004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Arc 45"/>
          <p:cNvSpPr/>
          <p:nvPr/>
        </p:nvSpPr>
        <p:spPr>
          <a:xfrm>
            <a:off x="6118903" y="2065354"/>
            <a:ext cx="1598116" cy="1598116"/>
          </a:xfrm>
          <a:prstGeom prst="arc">
            <a:avLst>
              <a:gd name="adj1" fmla="val 7846411"/>
              <a:gd name="adj2" fmla="val 3022004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TextBox 52"/>
          <p:cNvSpPr txBox="1"/>
          <p:nvPr/>
        </p:nvSpPr>
        <p:spPr>
          <a:xfrm>
            <a:off x="-127456" y="4331412"/>
            <a:ext cx="2155604" cy="40011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 spc="-150">
                <a:solidFill>
                  <a:schemeClr val="bg1">
                    <a:lumMod val="50000"/>
                  </a:schemeClr>
                </a:solidFill>
                <a:latin typeface="Titillium" panose="00000500000000000000" pitchFamily="50" charset="0"/>
                <a:ea typeface="Roboto" panose="02000000000000000000" pitchFamily="2" charset="0"/>
                <a:cs typeface="Open Sans Semibold" panose="020B07060308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FR" sz="1600" b="1" spc="0" dirty="0">
                <a:solidFill>
                  <a:schemeClr val="accent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UTILISATEUR</a:t>
            </a:r>
          </a:p>
          <a:p>
            <a:r>
              <a:rPr lang="fr-FR" sz="1600" b="1" spc="0" dirty="0">
                <a:solidFill>
                  <a:schemeClr val="accent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ABONNEMENT</a:t>
            </a:r>
            <a:endParaRPr lang="id-ID" sz="1600" b="1" spc="0" dirty="0">
              <a:solidFill>
                <a:schemeClr val="accent1"/>
              </a:solidFill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059011" y="4331411"/>
            <a:ext cx="1691764" cy="40011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 spc="-150">
                <a:solidFill>
                  <a:schemeClr val="bg1">
                    <a:lumMod val="50000"/>
                  </a:schemeClr>
                </a:solidFill>
                <a:latin typeface="Titillium" panose="00000500000000000000" pitchFamily="50" charset="0"/>
                <a:ea typeface="Roboto" panose="02000000000000000000" pitchFamily="2" charset="0"/>
                <a:cs typeface="Open Sans Semibold" panose="020B07060308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FR" sz="1600" b="1" spc="0" dirty="0">
                <a:solidFill>
                  <a:schemeClr val="accent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VELO</a:t>
            </a:r>
          </a:p>
          <a:p>
            <a:r>
              <a:rPr lang="fr-FR" sz="1600" b="1" spc="0" dirty="0">
                <a:solidFill>
                  <a:schemeClr val="accent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RESERVATION</a:t>
            </a:r>
            <a:endParaRPr lang="id-ID" sz="1600" b="1" spc="0" dirty="0">
              <a:solidFill>
                <a:schemeClr val="accent1"/>
              </a:solidFill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4020144" y="4331410"/>
            <a:ext cx="1704878" cy="40011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 spc="-150">
                <a:solidFill>
                  <a:schemeClr val="bg1">
                    <a:lumMod val="50000"/>
                  </a:schemeClr>
                </a:solidFill>
                <a:latin typeface="Titillium" panose="00000500000000000000" pitchFamily="50" charset="0"/>
                <a:ea typeface="Roboto" panose="02000000000000000000" pitchFamily="2" charset="0"/>
                <a:cs typeface="Open Sans Semibold" panose="020B07060308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FR" sz="1600" b="1" spc="0" dirty="0">
                <a:solidFill>
                  <a:schemeClr val="accent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EVENEMENT </a:t>
            </a:r>
          </a:p>
          <a:p>
            <a:r>
              <a:rPr lang="fr-FR" sz="1600" b="1" spc="0" dirty="0">
                <a:solidFill>
                  <a:schemeClr val="accent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SPONSOR</a:t>
            </a:r>
            <a:endParaRPr lang="id-ID" sz="1600" b="1" spc="0" dirty="0">
              <a:solidFill>
                <a:schemeClr val="accent1"/>
              </a:solidFill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5742771" y="4331409"/>
            <a:ext cx="2699559" cy="40011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 spc="-150">
                <a:solidFill>
                  <a:schemeClr val="bg1">
                    <a:lumMod val="50000"/>
                  </a:schemeClr>
                </a:solidFill>
                <a:latin typeface="Titillium" panose="00000500000000000000" pitchFamily="50" charset="0"/>
                <a:ea typeface="Roboto" panose="02000000000000000000" pitchFamily="2" charset="0"/>
                <a:cs typeface="Open Sans Semibold" panose="020B07060308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FR" sz="1600" b="1" spc="0" dirty="0">
                <a:solidFill>
                  <a:schemeClr val="accent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MAINTENANCE</a:t>
            </a:r>
          </a:p>
          <a:p>
            <a:r>
              <a:rPr lang="fr-FR" sz="1600" b="1" spc="0" dirty="0">
                <a:solidFill>
                  <a:schemeClr val="accent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PIECE DE RECHANGE </a:t>
            </a:r>
          </a:p>
        </p:txBody>
      </p:sp>
      <p:sp>
        <p:nvSpPr>
          <p:cNvPr id="47" name="Arc 46"/>
          <p:cNvSpPr/>
          <p:nvPr/>
        </p:nvSpPr>
        <p:spPr>
          <a:xfrm>
            <a:off x="8292660" y="2065354"/>
            <a:ext cx="1598116" cy="1598116"/>
          </a:xfrm>
          <a:prstGeom prst="arc">
            <a:avLst>
              <a:gd name="adj1" fmla="val 7846411"/>
              <a:gd name="adj2" fmla="val 3022004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TextBox 71"/>
          <p:cNvSpPr txBox="1"/>
          <p:nvPr/>
        </p:nvSpPr>
        <p:spPr>
          <a:xfrm>
            <a:off x="8442330" y="4331408"/>
            <a:ext cx="1406691" cy="40011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 spc="-150">
                <a:solidFill>
                  <a:schemeClr val="bg1">
                    <a:lumMod val="50000"/>
                  </a:schemeClr>
                </a:solidFill>
                <a:latin typeface="Titillium" panose="00000500000000000000" pitchFamily="50" charset="0"/>
                <a:ea typeface="Roboto" panose="02000000000000000000" pitchFamily="2" charset="0"/>
                <a:cs typeface="Open Sans Semibold" panose="020B07060308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FR" sz="1600" b="1" spc="0" dirty="0">
                <a:solidFill>
                  <a:schemeClr val="accent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SITE</a:t>
            </a:r>
          </a:p>
          <a:p>
            <a:r>
              <a:rPr lang="fr-FR" sz="1600" b="1" spc="0" dirty="0">
                <a:solidFill>
                  <a:schemeClr val="accent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STOCK</a:t>
            </a:r>
            <a:endParaRPr lang="id-ID" sz="1600" b="1" spc="0" dirty="0">
              <a:solidFill>
                <a:schemeClr val="accent1"/>
              </a:solidFill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54" name="TextBox 71"/>
          <p:cNvSpPr txBox="1"/>
          <p:nvPr/>
        </p:nvSpPr>
        <p:spPr>
          <a:xfrm>
            <a:off x="10466417" y="4331407"/>
            <a:ext cx="1617046" cy="40011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 spc="-150">
                <a:solidFill>
                  <a:schemeClr val="bg1">
                    <a:lumMod val="50000"/>
                  </a:schemeClr>
                </a:solidFill>
                <a:latin typeface="Titillium" panose="00000500000000000000" pitchFamily="50" charset="0"/>
                <a:ea typeface="Roboto" panose="02000000000000000000" pitchFamily="2" charset="0"/>
                <a:cs typeface="Open Sans Semibold" panose="020B07060308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FR" sz="1600" b="1" spc="0" dirty="0">
                <a:solidFill>
                  <a:schemeClr val="accent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PANIER LIVRAISON</a:t>
            </a:r>
            <a:endParaRPr lang="id-ID" sz="1600" b="1" spc="0" dirty="0">
              <a:solidFill>
                <a:schemeClr val="accent1"/>
              </a:solidFill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27" name="Arc 26"/>
          <p:cNvSpPr/>
          <p:nvPr/>
        </p:nvSpPr>
        <p:spPr>
          <a:xfrm>
            <a:off x="10466417" y="2043192"/>
            <a:ext cx="1598116" cy="1598116"/>
          </a:xfrm>
          <a:prstGeom prst="arc">
            <a:avLst>
              <a:gd name="adj1" fmla="val 7846411"/>
              <a:gd name="adj2" fmla="val 3022004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425" y="2480881"/>
            <a:ext cx="767061" cy="767061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8206" y="2293250"/>
            <a:ext cx="1097999" cy="1097999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566326" y="2535991"/>
            <a:ext cx="612515" cy="612515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3199" y="2538982"/>
            <a:ext cx="609524" cy="60952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6956" y="2480881"/>
            <a:ext cx="609524" cy="609524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4459" y="2404172"/>
            <a:ext cx="744334" cy="744334"/>
          </a:xfrm>
          <a:prstGeom prst="rect">
            <a:avLst/>
          </a:prstGeom>
        </p:spPr>
      </p:pic>
      <p:sp>
        <p:nvSpPr>
          <p:cNvPr id="34" name="Rectangle 33"/>
          <p:cNvSpPr/>
          <p:nvPr/>
        </p:nvSpPr>
        <p:spPr>
          <a:xfrm>
            <a:off x="256853" y="6565187"/>
            <a:ext cx="750014" cy="268210"/>
          </a:xfrm>
          <a:prstGeom prst="rect">
            <a:avLst/>
          </a:prstGeom>
          <a:solidFill>
            <a:srgbClr val="ED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6" name="Rectangle 35"/>
          <p:cNvSpPr/>
          <p:nvPr/>
        </p:nvSpPr>
        <p:spPr>
          <a:xfrm>
            <a:off x="9317646" y="6565187"/>
            <a:ext cx="1945439" cy="268210"/>
          </a:xfrm>
          <a:prstGeom prst="rect">
            <a:avLst/>
          </a:prstGeom>
          <a:solidFill>
            <a:srgbClr val="ED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8612415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/>
      <p:bldP spid="60" grpId="0"/>
      <p:bldP spid="66" grpId="0"/>
      <p:bldP spid="72" grpId="0"/>
      <p:bldP spid="49" grpId="0"/>
      <p:bldP spid="5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eKsZR4iUOkkT7XaTW_g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gVXIwmPkaNEw56OuLEH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eKsZR4iUOkkT7XaTW_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heme/theme1.xml><?xml version="1.0" encoding="utf-8"?>
<a:theme xmlns:a="http://schemas.openxmlformats.org/drawingml/2006/main" name="Office Theme">
  <a:themeElements>
    <a:clrScheme name="Custom 39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92D050"/>
      </a:accent1>
      <a:accent2>
        <a:srgbClr val="92D050"/>
      </a:accent2>
      <a:accent3>
        <a:srgbClr val="92D050"/>
      </a:accent3>
      <a:accent4>
        <a:srgbClr val="92D050"/>
      </a:accent4>
      <a:accent5>
        <a:srgbClr val="92D050"/>
      </a:accent5>
      <a:accent6>
        <a:srgbClr val="92D050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8674</TotalTime>
  <Words>310</Words>
  <Application>Microsoft Office PowerPoint</Application>
  <PresentationFormat>Widescreen</PresentationFormat>
  <Paragraphs>143</Paragraphs>
  <Slides>22</Slides>
  <Notes>12</Notes>
  <HiddenSlides>0</HiddenSlides>
  <MMClips>1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1" baseType="lpstr">
      <vt:lpstr>Arial</vt:lpstr>
      <vt:lpstr>Calibri</vt:lpstr>
      <vt:lpstr>Calibri Light</vt:lpstr>
      <vt:lpstr>Lato</vt:lpstr>
      <vt:lpstr>Lato </vt:lpstr>
      <vt:lpstr>Lato Black</vt:lpstr>
      <vt:lpstr>Titillium</vt:lpstr>
      <vt:lpstr>Titillium Lt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ng island</dc:creator>
  <cp:lastModifiedBy>aymen.ouerghui@esprit.tn</cp:lastModifiedBy>
  <cp:revision>1374</cp:revision>
  <dcterms:created xsi:type="dcterms:W3CDTF">2015-06-10T14:58:12Z</dcterms:created>
  <dcterms:modified xsi:type="dcterms:W3CDTF">2020-01-29T08:11:11Z</dcterms:modified>
</cp:coreProperties>
</file>